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01_0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4" r:id="rId4"/>
  </p:sldMasterIdLst>
  <p:notesMasterIdLst>
    <p:notesMasterId r:id="rId19"/>
  </p:notesMasterIdLst>
  <p:handoutMasterIdLst>
    <p:handoutMasterId r:id="rId20"/>
  </p:handoutMasterIdLst>
  <p:sldIdLst>
    <p:sldId id="291" r:id="rId5"/>
    <p:sldId id="257" r:id="rId6"/>
    <p:sldId id="262" r:id="rId7"/>
    <p:sldId id="263" r:id="rId8"/>
    <p:sldId id="265" r:id="rId9"/>
    <p:sldId id="292" r:id="rId10"/>
    <p:sldId id="266" r:id="rId11"/>
    <p:sldId id="267" r:id="rId12"/>
    <p:sldId id="268" r:id="rId13"/>
    <p:sldId id="269" r:id="rId14"/>
    <p:sldId id="270" r:id="rId15"/>
    <p:sldId id="271" r:id="rId16"/>
    <p:sldId id="264" r:id="rId17"/>
    <p:sldId id="272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1E51604-7DB2-8527-CD1B-3F33A5EE3943}" name="Rob Bailis" initials="RB" userId="S::rob.bailis@sei.org::f1cd3a2a-2058-4d05-866e-1fee19f49a56" providerId="AD"/>
  <p188:author id="{9E05BE5A-CE82-268B-8FD3-12437EAE824C}" name="dcharron" initials="dc" userId="S::dcharron_berkeleyair.com#ext#@thestockholmenvi.onmicrosoft.com::bc0e9eb3-60f9-484f-aff5-4e92be717c78" providerId="AD"/>
  <p188:author id="{8DC3C6E2-748A-35F2-12E3-D5928FBEB48D}" name="Jessica Vargas" initials="JV" userId="S::jvargas@unfoundation.org::647e9eb5-985a-4f81-b238-862d40c6a15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a Charron" initials="DC" lastIdx="2" clrIdx="0">
    <p:extLst>
      <p:ext uri="{19B8F6BF-5375-455C-9EA6-DF929625EA0E}">
        <p15:presenceInfo xmlns:p15="http://schemas.microsoft.com/office/powerpoint/2012/main" userId="45c2b64049c463f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78D44"/>
    <a:srgbClr val="C55A11"/>
    <a:srgbClr val="AB4500"/>
    <a:srgbClr val="B43500"/>
    <a:srgbClr val="9437FF"/>
    <a:srgbClr val="D883FF"/>
    <a:srgbClr val="5E5E5E"/>
    <a:srgbClr val="92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984"/>
    <p:restoredTop sz="88202"/>
  </p:normalViewPr>
  <p:slideViewPr>
    <p:cSldViewPr snapToGrid="0">
      <p:cViewPr varScale="1">
        <p:scale>
          <a:sx n="70" d="100"/>
          <a:sy n="70" d="100"/>
        </p:scale>
        <p:origin x="816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2480" y="1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robbailis\Library\CloudStorage\GoogleDrive-bailis.rob@gmail.com\.shortcut-targets-by-id\1QKWYD4_nSGjtGDQt_UnDNq2YkuCk2vqc\FundingProposals_MoFuSS_2023-2025\UNFCCC_Oct2022\Rob_messing_around\AGB_tool_outputs_Jan2025.xlsx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Users\robbailis\Library\CloudStorage\GoogleDrive-bailis.rob@gmail.com\.shortcut-targets-by-id\1QKWYD4_nSGjtGDQt_UnDNq2YkuCk2vqc\FundingProposals_MoFuSS_2023-2025\UNFCCC_Oct2022\Rob_messing_around\AGB_tool_outputs_Jan2025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37579711390636"/>
          <c:y val="5.8687471932037195E-2"/>
          <c:w val="0.73171928534202602"/>
          <c:h val="0.81421505905511815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4"/>
            <c:marker>
              <c:symbol val="circle"/>
              <c:size val="8"/>
              <c:spPr>
                <a:solidFill>
                  <a:schemeClr val="bg1"/>
                </a:solidFill>
                <a:ln w="1587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FE05-CB47-86F2-1363136856AF}"/>
              </c:ext>
            </c:extLst>
          </c:dPt>
          <c:trendline>
            <c:spPr>
              <a:ln w="19050" cap="rnd">
                <a:solidFill>
                  <a:schemeClr val="accent1">
                    <a:alpha val="0"/>
                  </a:schemeClr>
                </a:solidFill>
                <a:prstDash val="sysDot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6.3420400675880784E-2"/>
                  <c:y val="0.4954179897548248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050" b="0" i="0" u="none" strike="noStrike" kern="1200" baseline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50" baseline="0"/>
                      <a:t>NRB(H) ≈ 0.65H - 3E+07</a:t>
                    </a:r>
                    <a:br>
                      <a:rPr lang="en-US" sz="1050" baseline="0"/>
                    </a:br>
                    <a:r>
                      <a:rPr lang="en-US" sz="1050" baseline="0"/>
                      <a:t>R² = 0.99</a:t>
                    </a:r>
                    <a:endParaRPr lang="en-US" sz="1050"/>
                  </a:p>
                </c:rich>
              </c:tx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5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'Mrg outputs'!$O$9:$O$19</c:f>
              <c:numCache>
                <c:formatCode>General</c:formatCode>
                <c:ptCount val="11"/>
                <c:pt idx="0">
                  <c:v>279848812</c:v>
                </c:pt>
                <c:pt idx="1">
                  <c:v>414525150</c:v>
                </c:pt>
                <c:pt idx="2">
                  <c:v>466650762</c:v>
                </c:pt>
                <c:pt idx="3">
                  <c:v>492269056</c:v>
                </c:pt>
                <c:pt idx="4">
                  <c:v>517781855</c:v>
                </c:pt>
                <c:pt idx="5">
                  <c:v>542716642</c:v>
                </c:pt>
                <c:pt idx="6">
                  <c:v>566967238</c:v>
                </c:pt>
                <c:pt idx="7">
                  <c:v>590227464</c:v>
                </c:pt>
                <c:pt idx="8">
                  <c:v>612417174</c:v>
                </c:pt>
                <c:pt idx="9">
                  <c:v>656112561</c:v>
                </c:pt>
                <c:pt idx="10">
                  <c:v>745506924</c:v>
                </c:pt>
              </c:numCache>
            </c:numRef>
          </c:xVal>
          <c:yVal>
            <c:numRef>
              <c:f>'Mrg outputs'!$N$9:$N$19</c:f>
              <c:numCache>
                <c:formatCode>General</c:formatCode>
                <c:ptCount val="11"/>
                <c:pt idx="0">
                  <c:v>158813710</c:v>
                </c:pt>
                <c:pt idx="1">
                  <c:v>243145878</c:v>
                </c:pt>
                <c:pt idx="2">
                  <c:v>276858540</c:v>
                </c:pt>
                <c:pt idx="3">
                  <c:v>293668612</c:v>
                </c:pt>
                <c:pt idx="4">
                  <c:v>310671481</c:v>
                </c:pt>
                <c:pt idx="5">
                  <c:v>327417958</c:v>
                </c:pt>
                <c:pt idx="6">
                  <c:v>343852913</c:v>
                </c:pt>
                <c:pt idx="7">
                  <c:v>359674650</c:v>
                </c:pt>
                <c:pt idx="8">
                  <c:v>374710450</c:v>
                </c:pt>
                <c:pt idx="9">
                  <c:v>404340696</c:v>
                </c:pt>
                <c:pt idx="10">
                  <c:v>45869722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DEF-A042-B9A8-0E6CF3F62D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47581263"/>
        <c:axId val="1765140687"/>
      </c:scatterChart>
      <c:valAx>
        <c:axId val="194758126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5140687"/>
        <c:crosses val="autoZero"/>
        <c:crossBetween val="midCat"/>
        <c:majorUnit val="200000000"/>
        <c:dispUnits>
          <c:builtInUnit val="millions"/>
          <c:dispUnitsLbl>
            <c:layout>
              <c:manualLayout>
                <c:xMode val="edge"/>
                <c:yMode val="edge"/>
                <c:x val="0.24857731527285201"/>
                <c:y val="0.94734722490721868"/>
              </c:manualLayout>
            </c:layout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Woodfuel harvest 2020-2030</a:t>
                  </a:r>
                  <a:r>
                    <a:rPr lang="en-US" baseline="0"/>
                    <a:t> (</a:t>
                  </a:r>
                  <a:r>
                    <a:rPr lang="en-US"/>
                    <a:t>Mton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1765140687"/>
        <c:scaling>
          <c:orientation val="minMax"/>
          <c:max val="50000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7581263"/>
        <c:crosses val="autoZero"/>
        <c:crossBetween val="midCat"/>
        <c:majorUnit val="100000000"/>
        <c:dispUnits>
          <c:builtInUnit val="millions"/>
          <c:dispUnitsLbl>
            <c:layout>
              <c:manualLayout>
                <c:xMode val="edge"/>
                <c:yMode val="edge"/>
                <c:x val="0"/>
                <c:y val="0.24338931555776053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AGB losses  2020-2030 (Mton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563460495389623"/>
          <c:y val="4.8232668871417236E-2"/>
          <c:w val="0.71716049645314661"/>
          <c:h val="0.81421509818750182"/>
        </c:manualLayout>
      </c:layout>
      <c:scatterChart>
        <c:scatterStyle val="smoothMarker"/>
        <c:varyColors val="0"/>
        <c:ser>
          <c:idx val="1"/>
          <c:order val="0"/>
          <c:tx>
            <c:v>mfNRB</c:v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4"/>
            <c:marker>
              <c:symbol val="circle"/>
              <c:size val="8"/>
              <c:spPr>
                <a:solidFill>
                  <a:schemeClr val="bg1"/>
                </a:solidFill>
                <a:ln w="15875">
                  <a:solidFill>
                    <a:schemeClr val="accent3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808C-7545-A34F-095DE07228E9}"/>
              </c:ext>
            </c:extLst>
          </c:dPt>
          <c:xVal>
            <c:numRef>
              <c:f>'Mrg outputs'!$O$10:$O$18</c:f>
              <c:numCache>
                <c:formatCode>General</c:formatCode>
                <c:ptCount val="9"/>
                <c:pt idx="0">
                  <c:v>414525150</c:v>
                </c:pt>
                <c:pt idx="1">
                  <c:v>466650762</c:v>
                </c:pt>
                <c:pt idx="2">
                  <c:v>492269056</c:v>
                </c:pt>
                <c:pt idx="3">
                  <c:v>517781855</c:v>
                </c:pt>
                <c:pt idx="4">
                  <c:v>542716642</c:v>
                </c:pt>
                <c:pt idx="5">
                  <c:v>566967238</c:v>
                </c:pt>
                <c:pt idx="6">
                  <c:v>590227464</c:v>
                </c:pt>
                <c:pt idx="7">
                  <c:v>612417174</c:v>
                </c:pt>
                <c:pt idx="8">
                  <c:v>656112561</c:v>
                </c:pt>
              </c:numCache>
            </c:numRef>
          </c:xVal>
          <c:yVal>
            <c:numRef>
              <c:f>'Mrg outputs'!$U$10:$U$18</c:f>
              <c:numCache>
                <c:formatCode>0%</c:formatCode>
                <c:ptCount val="9"/>
                <c:pt idx="0">
                  <c:v>0.62618399974611727</c:v>
                </c:pt>
                <c:pt idx="1">
                  <c:v>0.64675810425017166</c:v>
                </c:pt>
                <c:pt idx="2">
                  <c:v>0.65617452902991902</c:v>
                </c:pt>
                <c:pt idx="3">
                  <c:v>0.66644467351465431</c:v>
                </c:pt>
                <c:pt idx="4">
                  <c:v>0.67161099070146457</c:v>
                </c:pt>
                <c:pt idx="5">
                  <c:v>0.67771344671281486</c:v>
                </c:pt>
                <c:pt idx="6">
                  <c:v>0.68020564374567982</c:v>
                </c:pt>
                <c:pt idx="7">
                  <c:v>0.67760236614178371</c:v>
                </c:pt>
                <c:pt idx="8">
                  <c:v>0.6781092475505480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30A7-1F4D-880F-E3C135B96287}"/>
            </c:ext>
          </c:extLst>
        </c:ser>
        <c:ser>
          <c:idx val="0"/>
          <c:order val="1"/>
          <c:tx>
            <c:v>fNRB</c:v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Pt>
            <c:idx val="4"/>
            <c:marker>
              <c:symbol val="circle"/>
              <c:size val="8"/>
              <c:spPr>
                <a:solidFill>
                  <a:schemeClr val="bg1"/>
                </a:solidFill>
                <a:ln w="15875">
                  <a:solidFill>
                    <a:schemeClr val="accent1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808C-7545-A34F-095DE07228E9}"/>
              </c:ext>
            </c:extLst>
          </c:dPt>
          <c:xVal>
            <c:numRef>
              <c:f>'Mrg outputs'!$O$10:$O$18</c:f>
              <c:numCache>
                <c:formatCode>General</c:formatCode>
                <c:ptCount val="9"/>
                <c:pt idx="0">
                  <c:v>414525150</c:v>
                </c:pt>
                <c:pt idx="1">
                  <c:v>466650762</c:v>
                </c:pt>
                <c:pt idx="2">
                  <c:v>492269056</c:v>
                </c:pt>
                <c:pt idx="3">
                  <c:v>517781855</c:v>
                </c:pt>
                <c:pt idx="4">
                  <c:v>542716642</c:v>
                </c:pt>
                <c:pt idx="5">
                  <c:v>566967238</c:v>
                </c:pt>
                <c:pt idx="6">
                  <c:v>590227464</c:v>
                </c:pt>
                <c:pt idx="7">
                  <c:v>612417174</c:v>
                </c:pt>
                <c:pt idx="8">
                  <c:v>656112561</c:v>
                </c:pt>
              </c:numCache>
            </c:numRef>
          </c:xVal>
          <c:yVal>
            <c:numRef>
              <c:f>'Mrg outputs'!$Q$10:$Q$18</c:f>
              <c:numCache>
                <c:formatCode>0.0%</c:formatCode>
                <c:ptCount val="9"/>
                <c:pt idx="0">
                  <c:v>0.5865648393107149</c:v>
                </c:pt>
                <c:pt idx="1">
                  <c:v>0.59328852012032074</c:v>
                </c:pt>
                <c:pt idx="2">
                  <c:v>0.59656118624689669</c:v>
                </c:pt>
                <c:pt idx="3">
                  <c:v>0.60000457335454527</c:v>
                </c:pt>
                <c:pt idx="4">
                  <c:v>0.60329448677566078</c:v>
                </c:pt>
                <c:pt idx="5">
                  <c:v>0.60647757040240124</c:v>
                </c:pt>
                <c:pt idx="6">
                  <c:v>0.60938311403279599</c:v>
                </c:pt>
                <c:pt idx="7">
                  <c:v>0.61185490203120918</c:v>
                </c:pt>
                <c:pt idx="8">
                  <c:v>0.61626726881090754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30A7-1F4D-880F-E3C135B962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947581263"/>
        <c:axId val="1765140687"/>
      </c:scatterChart>
      <c:valAx>
        <c:axId val="1947581263"/>
        <c:scaling>
          <c:orientation val="minMax"/>
          <c:min val="30000000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5140687"/>
        <c:crosses val="autoZero"/>
        <c:crossBetween val="midCat"/>
        <c:majorUnit val="100000000"/>
        <c:dispUnits>
          <c:builtInUnit val="millions"/>
          <c:dispUnitsLbl>
            <c:layout>
              <c:manualLayout>
                <c:xMode val="edge"/>
                <c:yMode val="edge"/>
                <c:x val="0.24857731527285201"/>
                <c:y val="0.94734722490721868"/>
              </c:manualLayout>
            </c:layout>
            <c:tx>
              <c:rich>
                <a:bodyPr rot="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/>
                    <a:t>Woodfuel harvest 2020-2030</a:t>
                  </a:r>
                  <a:r>
                    <a:rPr lang="en-US" baseline="0"/>
                    <a:t> (</a:t>
                  </a:r>
                  <a:r>
                    <a:rPr lang="en-US"/>
                    <a:t>Mtons)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1765140687"/>
        <c:scaling>
          <c:orientation val="minMax"/>
          <c:min val="0.5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fNRB and mfNRB (%)</a:t>
                </a:r>
              </a:p>
            </c:rich>
          </c:tx>
          <c:layout>
            <c:manualLayout>
              <c:xMode val="edge"/>
              <c:yMode val="edge"/>
              <c:x val="0"/>
              <c:y val="0.335484483509921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7581263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304487009050594"/>
          <c:y val="0.20073035563951122"/>
          <c:w val="0.25240781903070397"/>
          <c:h val="0.277924797736270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span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01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5EF3FCF-330A-8C46-A477-9559C626B62E}" authorId="{91E51604-7DB2-8527-CD1B-3F33A5EE3943}" created="2025-01-24T23:44:08.507">
    <pc:sldMkLst xmlns:pc="http://schemas.microsoft.com/office/powerpoint/2013/main/command">
      <pc:docMk/>
      <pc:sldMk cId="0" sldId="257"/>
    </pc:sldMkLst>
    <p188:txBody>
      <a:bodyPr/>
      <a:lstStyle/>
      <a:p>
        <a:r>
          <a:rPr lang="en-US"/>
          <a:t>I’ll delete the blue text here before the presentation</a:t>
        </a:r>
      </a:p>
    </p188:txBody>
  </p188:cm>
</p188:cmLst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74</cdr:x>
      <cdr:y>0.05889</cdr:y>
    </cdr:from>
    <cdr:to>
      <cdr:x>0.60628</cdr:x>
      <cdr:y>0.8747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E03338CE-0F9A-227E-E875-DF3D53B1CD6C}"/>
            </a:ext>
          </a:extLst>
        </cdr:cNvPr>
        <cdr:cNvCxnSpPr/>
      </cdr:nvCxnSpPr>
      <cdr:spPr>
        <a:xfrm xmlns:a="http://schemas.openxmlformats.org/drawingml/2006/main" flipV="1">
          <a:off x="541916" y="214616"/>
          <a:ext cx="1686994" cy="2973023"/>
        </a:xfrm>
        <a:prstGeom xmlns:a="http://schemas.openxmlformats.org/drawingml/2006/main" prst="line">
          <a:avLst/>
        </a:prstGeom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117</cdr:x>
      <cdr:y>0.06189</cdr:y>
    </cdr:from>
    <cdr:to>
      <cdr:x>0.88075</cdr:x>
      <cdr:y>0.87388</cdr:y>
    </cdr:to>
    <cdr:cxnSp macro="">
      <cdr:nvCxnSpPr>
        <cdr:cNvPr id="7" name="Straight Connector 6">
          <a:extLst xmlns:a="http://schemas.openxmlformats.org/drawingml/2006/main">
            <a:ext uri="{FF2B5EF4-FFF2-40B4-BE49-F238E27FC236}">
              <a16:creationId xmlns:a16="http://schemas.microsoft.com/office/drawing/2014/main" id="{B0DEBE3F-3862-5975-B916-F6F6320A381A}"/>
            </a:ext>
          </a:extLst>
        </cdr:cNvPr>
        <cdr:cNvCxnSpPr/>
      </cdr:nvCxnSpPr>
      <cdr:spPr>
        <a:xfrm xmlns:a="http://schemas.openxmlformats.org/drawingml/2006/main" flipV="1">
          <a:off x="666063" y="225542"/>
          <a:ext cx="2571910" cy="2959109"/>
        </a:xfrm>
        <a:prstGeom xmlns:a="http://schemas.openxmlformats.org/drawingml/2006/main" prst="line">
          <a:avLst/>
        </a:prstGeom>
        <a:ln xmlns:a="http://schemas.openxmlformats.org/drawingml/2006/main" w="12700">
          <a:prstDash val="sysDot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1339</cdr:x>
      <cdr:y>0.37155</cdr:y>
    </cdr:from>
    <cdr:to>
      <cdr:x>0.39899</cdr:x>
      <cdr:y>0.53858</cdr:y>
    </cdr:to>
    <cdr:sp macro="" textlink="">
      <cdr:nvSpPr>
        <cdr:cNvPr id="9" name="TextBox 7">
          <a:extLst xmlns:a="http://schemas.openxmlformats.org/drawingml/2006/main">
            <a:ext uri="{FF2B5EF4-FFF2-40B4-BE49-F238E27FC236}">
              <a16:creationId xmlns:a16="http://schemas.microsoft.com/office/drawing/2014/main" id="{CA16DB47-BEF2-3371-A0C9-5B493AEB902D}"/>
            </a:ext>
          </a:extLst>
        </cdr:cNvPr>
        <cdr:cNvSpPr txBox="1"/>
      </cdr:nvSpPr>
      <cdr:spPr>
        <a:xfrm xmlns:a="http://schemas.openxmlformats.org/drawingml/2006/main" rot="17979743">
          <a:off x="1005162" y="1501033"/>
          <a:ext cx="608675" cy="31468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72000" tIns="72000" rIns="72000" bIns="72000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l"/>
          <a:r>
            <a:rPr lang="en-US" sz="1100" dirty="0">
              <a:solidFill>
                <a:schemeClr val="tx1">
                  <a:lumMod val="65000"/>
                  <a:lumOff val="35000"/>
                </a:schemeClr>
              </a:solidFill>
              <a:latin typeface="Aptos Narrow" panose="020B0004020202020204" pitchFamily="34" charset="0"/>
            </a:rPr>
            <a:t>NRB = 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DE0657-0996-B348-B907-A787542ABA79}" type="datetimeFigureOut">
              <a:rPr lang="en-GB" smtClean="0"/>
              <a:t>12/02/202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F957E5-F993-0941-B102-82DBC6A8A80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6857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B1813C-687D-1F41-998E-072415C4FA63}" type="datetimeFigureOut">
              <a:rPr lang="en-GB" smtClean="0"/>
              <a:t>12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24E4FC-4DF7-8B4C-A9A2-DDE2D6DD14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525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F14061-ACB8-4BA3-A124-D00F59BB915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5703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" name="Google Shape;593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4" name="Google Shape;594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02" name="Google Shape;602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" name="Google Shape;522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3" name="Google Shape;523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2327818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0" name="Google Shape;610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3" name="Google Shape;463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3" name="Google Shape;503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Google Shape;510;p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1" name="Google Shape;511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4" name="Google Shape;53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35" name="Google Shape;535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6" name="Google Shape;536;p1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50" name="Google Shape;550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9" name="Google Shape;559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60" name="Google Shape;560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70" name="Google Shape;570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0" name="Google Shape;58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81" name="Google Shape;581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82" name="Google Shape;582;p1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4.bin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oleObject" Target="../embeddings/oleObject16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oleObject" Target="../embeddings/oleObject18.bin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oleObject" Target="../embeddings/oleObject20.bin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oleObject" Target="../embeddings/oleObject23.bin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7" Type="http://schemas.openxmlformats.org/officeDocument/2006/relationships/oleObject" Target="../embeddings/oleObject29.bin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oleObject" Target="../embeddings/oleObject31.bin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oleObject" Target="../embeddings/oleObject34.bin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oleObject" Target="../embeddings/oleObject36.bin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7" Type="http://schemas.openxmlformats.org/officeDocument/2006/relationships/oleObject" Target="../embeddings/oleObject38.bin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oleObject" Target="../embeddings/oleObject40.bin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oleObject" Target="../embeddings/oleObject42.bin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sv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oleObject" Target="../embeddings/oleObject46.bin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oleObject" Target="../embeddings/oleObject40.bin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oleObject" Target="../embeddings/oleObject8.bin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D0B48C-D978-B2E0-E14A-48899E30175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59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D0B48C-D978-B2E0-E14A-48899E3017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4365851F-B219-A9E8-EF32-CFD56B30E899}"/>
              </a:ext>
            </a:extLst>
          </p:cNvPr>
          <p:cNvSpPr/>
          <p:nvPr userDrawn="1"/>
        </p:nvSpPr>
        <p:spPr>
          <a:xfrm>
            <a:off x="5279642" y="1196975"/>
            <a:ext cx="6912359" cy="5661025"/>
          </a:xfrm>
          <a:custGeom>
            <a:avLst/>
            <a:gdLst>
              <a:gd name="connsiteX0" fmla="*/ 1283599 w 6912359"/>
              <a:gd name="connsiteY0" fmla="*/ 365 h 5661025"/>
              <a:gd name="connsiteX1" fmla="*/ 1373350 w 6912359"/>
              <a:gd name="connsiteY1" fmla="*/ 5762 h 5661025"/>
              <a:gd name="connsiteX2" fmla="*/ 6912359 w 6912359"/>
              <a:gd name="connsiteY2" fmla="*/ 911948 h 5661025"/>
              <a:gd name="connsiteX3" fmla="*/ 6912359 w 6912359"/>
              <a:gd name="connsiteY3" fmla="*/ 5661025 h 5661025"/>
              <a:gd name="connsiteX4" fmla="*/ 0 w 6912359"/>
              <a:gd name="connsiteY4" fmla="*/ 5661025 h 5661025"/>
              <a:gd name="connsiteX5" fmla="*/ 865238 w 6912359"/>
              <a:gd name="connsiteY5" fmla="*/ 370489 h 5661025"/>
              <a:gd name="connsiteX6" fmla="*/ 1283599 w 6912359"/>
              <a:gd name="connsiteY6" fmla="*/ 365 h 5661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12359" h="5661025">
                <a:moveTo>
                  <a:pt x="1283599" y="365"/>
                </a:moveTo>
                <a:cubicBezTo>
                  <a:pt x="1313044" y="-828"/>
                  <a:pt x="1343073" y="890"/>
                  <a:pt x="1373350" y="5762"/>
                </a:cubicBezTo>
                <a:lnTo>
                  <a:pt x="6912359" y="911948"/>
                </a:lnTo>
                <a:lnTo>
                  <a:pt x="6912359" y="5661025"/>
                </a:lnTo>
                <a:lnTo>
                  <a:pt x="0" y="5661025"/>
                </a:lnTo>
                <a:lnTo>
                  <a:pt x="865238" y="370489"/>
                </a:lnTo>
                <a:cubicBezTo>
                  <a:pt x="899954" y="159761"/>
                  <a:pt x="1077489" y="8721"/>
                  <a:pt x="1283599" y="365"/>
                </a:cubicBezTo>
                <a:close/>
              </a:path>
            </a:pathLst>
          </a:custGeom>
          <a:solidFill>
            <a:schemeClr val="tx2"/>
          </a:solidFill>
          <a:ln w="647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42D66AE2-0A96-D53C-5692-E34CF8C1ADB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5864229" cy="6858000"/>
          </a:xfrm>
          <a:custGeom>
            <a:avLst/>
            <a:gdLst>
              <a:gd name="connsiteX0" fmla="*/ 0 w 5864229"/>
              <a:gd name="connsiteY0" fmla="*/ 0 h 6858000"/>
              <a:gd name="connsiteX1" fmla="*/ 5864229 w 5864229"/>
              <a:gd name="connsiteY1" fmla="*/ 0 h 6858000"/>
              <a:gd name="connsiteX2" fmla="*/ 4955615 w 5864229"/>
              <a:gd name="connsiteY2" fmla="*/ 5555766 h 6858000"/>
              <a:gd name="connsiteX3" fmla="*/ 4358275 w 5864229"/>
              <a:gd name="connsiteY3" fmla="*/ 5984541 h 6858000"/>
              <a:gd name="connsiteX4" fmla="*/ 1 w 5864229"/>
              <a:gd name="connsiteY4" fmla="*/ 5271525 h 6858000"/>
              <a:gd name="connsiteX5" fmla="*/ 1 w 5864229"/>
              <a:gd name="connsiteY5" fmla="*/ 6858000 h 6858000"/>
              <a:gd name="connsiteX6" fmla="*/ 0 w 58642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864229" h="6858000">
                <a:moveTo>
                  <a:pt x="0" y="0"/>
                </a:moveTo>
                <a:lnTo>
                  <a:pt x="5864229" y="0"/>
                </a:lnTo>
                <a:lnTo>
                  <a:pt x="4955615" y="5555766"/>
                </a:lnTo>
                <a:cubicBezTo>
                  <a:pt x="4910610" y="5841344"/>
                  <a:pt x="4641399" y="6031183"/>
                  <a:pt x="4358275" y="5984541"/>
                </a:cubicBezTo>
                <a:lnTo>
                  <a:pt x="1" y="5271525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72000" bIns="936000" anchor="ctr" anchorCtr="0">
            <a:no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n image inside the placeholder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7CBF33-48B4-A8F6-359B-B0F36CB027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042314"/>
            <a:ext cx="5638799" cy="2100359"/>
          </a:xfrm>
        </p:spPr>
        <p:txBody>
          <a:bodyPr vert="horz" lIns="108000" anchor="b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A9ACD1-947C-4891-6344-5049B8DE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216820"/>
            <a:ext cx="5638802" cy="799226"/>
          </a:xfrm>
        </p:spPr>
        <p:txBody>
          <a:bodyPr lIns="108000"/>
          <a:lstStyle>
            <a:lvl1pPr marL="0" indent="0" algn="l">
              <a:buNone/>
              <a:defRPr sz="24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08B5EFD-53C4-4EB9-28F8-C98C9F7256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5286732"/>
            <a:ext cx="5638800" cy="685800"/>
          </a:xfrm>
        </p:spPr>
        <p:txBody>
          <a:bodyPr lIns="108000" anchor="ctr" anchorCtr="0"/>
          <a:lstStyle>
            <a:lvl1pPr marL="0" indent="0">
              <a:buNone/>
              <a:defRPr sz="2000" b="1">
                <a:solidFill>
                  <a:srgbClr val="F99303"/>
                </a:solidFill>
              </a:defRPr>
            </a:lvl1pPr>
          </a:lstStyle>
          <a:p>
            <a:pPr lvl="0"/>
            <a:r>
              <a:rPr lang="en-US"/>
              <a:t>Date &amp; other information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3C47C445-AA0A-4117-8E83-5A5294ED5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14591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3C47C445-AA0A-4117-8E83-5A5294ED5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444F70-1DCF-91F6-072D-083F100EFF15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294FE-F307-9E03-75EB-1537B4C1B8B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6096000" y="6254713"/>
            <a:ext cx="5638798" cy="4902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78F02EA-AA64-6DD0-F345-4D531B084B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4382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 Boxes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DBAE55-5038-A71E-1BFE-E5EA5A501A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10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DBAE55-5038-A71E-1BFE-E5EA5A501A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F684F872-231B-404B-BC83-AA7F1D8E3DFC}" type="datetime1">
              <a:rPr lang="en-US" smtClean="0"/>
              <a:pPr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0" name="Text Placeholder 5">
            <a:extLst>
              <a:ext uri="{FF2B5EF4-FFF2-40B4-BE49-F238E27FC236}">
                <a16:creationId xmlns:a16="http://schemas.microsoft.com/office/drawing/2014/main" id="{5169C46F-FA5C-FDB2-CFFF-525B81688CD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9124" y="1567731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61" name="Text Placeholder 5">
            <a:extLst>
              <a:ext uri="{FF2B5EF4-FFF2-40B4-BE49-F238E27FC236}">
                <a16:creationId xmlns:a16="http://schemas.microsoft.com/office/drawing/2014/main" id="{BCD38710-288A-3EF4-BFF2-514B609E020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49124" y="3006733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62" name="Text Placeholder 5">
            <a:extLst>
              <a:ext uri="{FF2B5EF4-FFF2-40B4-BE49-F238E27FC236}">
                <a16:creationId xmlns:a16="http://schemas.microsoft.com/office/drawing/2014/main" id="{450F5F36-270D-9298-4541-1A62B77A4A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9124" y="4445734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70" name="Text Placeholder 5">
            <a:extLst>
              <a:ext uri="{FF2B5EF4-FFF2-40B4-BE49-F238E27FC236}">
                <a16:creationId xmlns:a16="http://schemas.microsoft.com/office/drawing/2014/main" id="{7CF957E1-8B49-F77E-D143-93C28C2375D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767443" y="1567731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81" name="Text Placeholder 5">
            <a:extLst>
              <a:ext uri="{FF2B5EF4-FFF2-40B4-BE49-F238E27FC236}">
                <a16:creationId xmlns:a16="http://schemas.microsoft.com/office/drawing/2014/main" id="{9983F294-C78D-F311-2B60-14EC2EC02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767443" y="3006733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82" name="Text Placeholder 5">
            <a:extLst>
              <a:ext uri="{FF2B5EF4-FFF2-40B4-BE49-F238E27FC236}">
                <a16:creationId xmlns:a16="http://schemas.microsoft.com/office/drawing/2014/main" id="{F2B56D6D-9031-CECD-C158-22EECA1FA3C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767443" y="4445734"/>
            <a:ext cx="4967361" cy="1257248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612000" tIns="180000" rIns="180000" bIns="180000" anchor="ctr" anchorCtr="0"/>
          <a:lstStyle>
            <a:lvl1pPr marL="0" indent="0" rtl="0">
              <a:spcBef>
                <a:spcPts val="0"/>
              </a:spcBef>
              <a:buNone/>
              <a:defRPr sz="2200">
                <a:latin typeface="Aptos Narrow" panose="020B00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Press the Reset button to reset formatting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85941E-D224-F189-320F-3FF7EF13BBE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9449" y="1739155"/>
            <a:ext cx="914401" cy="914400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2" name="Text Placeholder 10">
            <a:extLst>
              <a:ext uri="{FF2B5EF4-FFF2-40B4-BE49-F238E27FC236}">
                <a16:creationId xmlns:a16="http://schemas.microsoft.com/office/drawing/2014/main" id="{9F83768B-18DB-E8E9-F808-8D884FABCE9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57198" y="3178157"/>
            <a:ext cx="914401" cy="914400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3" name="Text Placeholder 10">
            <a:extLst>
              <a:ext uri="{FF2B5EF4-FFF2-40B4-BE49-F238E27FC236}">
                <a16:creationId xmlns:a16="http://schemas.microsoft.com/office/drawing/2014/main" id="{D5B16333-9BBB-26A5-8416-314065EE7E6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9898" y="4617158"/>
            <a:ext cx="914401" cy="914400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7" name="Text Placeholder 10">
            <a:extLst>
              <a:ext uri="{FF2B5EF4-FFF2-40B4-BE49-F238E27FC236}">
                <a16:creationId xmlns:a16="http://schemas.microsoft.com/office/drawing/2014/main" id="{18DBA234-5D3E-9879-2ED9-10FFC05236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87768" y="1739155"/>
            <a:ext cx="914401" cy="914400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8" name="Text Placeholder 10">
            <a:extLst>
              <a:ext uri="{FF2B5EF4-FFF2-40B4-BE49-F238E27FC236}">
                <a16:creationId xmlns:a16="http://schemas.microsoft.com/office/drawing/2014/main" id="{1B415414-6E1F-BB45-49B8-DBA5AE7EE4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75517" y="3178157"/>
            <a:ext cx="914401" cy="914400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9" name="Text Placeholder 10">
            <a:extLst>
              <a:ext uri="{FF2B5EF4-FFF2-40B4-BE49-F238E27FC236}">
                <a16:creationId xmlns:a16="http://schemas.microsoft.com/office/drawing/2014/main" id="{88347BEB-350C-8056-476C-FE07FA497A2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98217" y="4617158"/>
            <a:ext cx="914401" cy="914400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  <a:latin typeface="Aptos Narrow" panose="020B0004020202020204" pitchFamily="34" charset="0"/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BE721525-958D-0711-C9FF-1674413C6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81100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BE721525-958D-0711-C9FF-1674413C64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77878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text boxes_ With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260ED2-2598-A39D-3DC5-BF39DD3099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260ED2-2598-A39D-3DC5-BF39DD30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3CE827-68B3-875C-B24A-130147B0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EF97AA-1EDA-4656-8346-82207E7754CC}" type="datetime1">
              <a:rPr lang="en-US" smtClean="0"/>
              <a:t>2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E61C8-50AD-09BE-3EB2-B0AF58921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2F7E-607F-3590-254D-0378BCD7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4D46DB00-C779-6B63-C452-6455D2585FB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281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3" name="Text Placeholder 5">
            <a:extLst>
              <a:ext uri="{FF2B5EF4-FFF2-40B4-BE49-F238E27FC236}">
                <a16:creationId xmlns:a16="http://schemas.microsoft.com/office/drawing/2014/main" id="{73737973-0DA2-58C0-543B-C79C1A6926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280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6C9B3AF7-477F-26D4-3A5C-D792D67D57F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280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D3A28C45-863D-0FC3-9D52-D3E3316D02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3280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565DC5BE-A0D1-E87E-F760-B1C78D79037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280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02271B4C-4CBD-ECA0-AB80-9BC5D767FC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72024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8" name="Text Placeholder 5">
            <a:extLst>
              <a:ext uri="{FF2B5EF4-FFF2-40B4-BE49-F238E27FC236}">
                <a16:creationId xmlns:a16="http://schemas.microsoft.com/office/drawing/2014/main" id="{B1C3FF77-8AED-031E-F635-C99BA11FBD4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2024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9D67BAC5-252C-7E86-03D1-8CE6EA71E2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2024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3688F1B9-52C8-DD75-3F43-70BE7FDDB8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2024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67CD79D8-3B39-8726-C0B7-EE7DE0297FC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72024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2A62B67A-3B99-D9B9-21DF-C131248776F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57200" y="1321228"/>
            <a:ext cx="716280" cy="716279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F96575A4-D81D-B153-4CFF-AA9FC63C45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3884" y="1321228"/>
            <a:ext cx="716280" cy="716279"/>
          </a:xfrm>
          <a:prstGeom prst="ellipse">
            <a:avLst/>
          </a:prstGeom>
          <a:solidFill>
            <a:schemeClr val="tx2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B9C90CCD-4209-561C-590D-A266D87699F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7200" y="2301741"/>
            <a:ext cx="716280" cy="716279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E277722E-A075-7816-4D5C-F093A0EF06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3884" y="2301741"/>
            <a:ext cx="716280" cy="716279"/>
          </a:xfrm>
          <a:prstGeom prst="ellipse">
            <a:avLst/>
          </a:prstGeom>
          <a:solidFill>
            <a:schemeClr val="accent1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64807AF5-1D72-316C-1AA0-1B51A0493A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7200" y="3282255"/>
            <a:ext cx="716280" cy="716279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9DEBCF67-D420-E3AD-BB90-2F682394357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213884" y="3282255"/>
            <a:ext cx="716280" cy="716279"/>
          </a:xfrm>
          <a:prstGeom prst="ellipse">
            <a:avLst/>
          </a:prstGeom>
          <a:solidFill>
            <a:schemeClr val="accent3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8" name="Text Placeholder 10">
            <a:extLst>
              <a:ext uri="{FF2B5EF4-FFF2-40B4-BE49-F238E27FC236}">
                <a16:creationId xmlns:a16="http://schemas.microsoft.com/office/drawing/2014/main" id="{5C4BFD44-8209-5FD4-9418-44051DA24D7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" y="4262770"/>
            <a:ext cx="716280" cy="716279"/>
          </a:xfrm>
          <a:prstGeom prst="ellipse">
            <a:avLst/>
          </a:prstGeom>
          <a:solidFill>
            <a:schemeClr val="accent4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9" name="Text Placeholder 10">
            <a:extLst>
              <a:ext uri="{FF2B5EF4-FFF2-40B4-BE49-F238E27FC236}">
                <a16:creationId xmlns:a16="http://schemas.microsoft.com/office/drawing/2014/main" id="{C180DFD0-DAA4-34AA-C3D1-02D4B9A044A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13884" y="4262770"/>
            <a:ext cx="716280" cy="716279"/>
          </a:xfrm>
          <a:prstGeom prst="ellipse">
            <a:avLst/>
          </a:prstGeom>
          <a:solidFill>
            <a:schemeClr val="accent4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14B7DB8C-A095-51B4-A04A-5176DE28842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5243285"/>
            <a:ext cx="716280" cy="716279"/>
          </a:xfrm>
          <a:prstGeom prst="ellipse">
            <a:avLst/>
          </a:prstGeom>
          <a:solidFill>
            <a:schemeClr val="accent5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95BD690B-7E73-1119-A176-5EC4AF8F3B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13884" y="5243285"/>
            <a:ext cx="716280" cy="716279"/>
          </a:xfrm>
          <a:prstGeom prst="ellipse">
            <a:avLst/>
          </a:prstGeom>
          <a:solidFill>
            <a:schemeClr val="accent5"/>
          </a:solidFill>
        </p:spPr>
        <p:txBody>
          <a:bodyPr lIns="72000" anchor="ctr" anchorCtr="0"/>
          <a:lstStyle>
            <a:lvl1pPr marL="0" indent="0" algn="ctr" rtl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graphicFrame>
        <p:nvGraphicFramePr>
          <p:cNvPr id="42" name="Object 41" hidden="1">
            <a:extLst>
              <a:ext uri="{FF2B5EF4-FFF2-40B4-BE49-F238E27FC236}">
                <a16:creationId xmlns:a16="http://schemas.microsoft.com/office/drawing/2014/main" id="{E7373F79-D4DC-EC02-943D-BCD1B5C37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42" name="Object 41" hidden="1">
                        <a:extLst>
                          <a:ext uri="{FF2B5EF4-FFF2-40B4-BE49-F238E27FC236}">
                            <a16:creationId xmlns:a16="http://schemas.microsoft.com/office/drawing/2014/main" id="{E7373F79-D4DC-EC02-943D-BCD1B5C376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8265777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text boxes_ No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4260ED2-2598-A39D-3DC5-BF39DD3099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4260ED2-2598-A39D-3DC5-BF39DD309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3CE827-68B3-875C-B24A-130147B0E8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DA9CD3-6E96-4AD0-A99A-A1B4B85C7A4D}" type="datetime1">
              <a:rPr lang="en-US" smtClean="0"/>
              <a:t>2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6E61C8-50AD-09BE-3EB2-B0AF589219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752F7E-607F-3590-254D-0378BCD776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415AA4B-FCCF-F070-AF85-5BF83DAC2A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3281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73554C4-32B1-B736-95BC-732B2C2FF3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3280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BA42A1EF-90C0-20FD-69C4-47600C245B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43280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F0084888-522D-294A-1165-0D22E34ADF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43280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7284345-69C1-25F6-D410-9ECCED876C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280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F1358FE-76A3-547B-7857-5D3E0F6A51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572024" y="1216286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F3AA0471-7F21-8524-845C-15F41F7999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72024" y="2196800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DCDF1593-39E3-B8C6-A279-6950D3AEA7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72024" y="3177314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F4751D6E-74EC-0859-6A70-DEFF21C3277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72024" y="4157828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22E5B812-64E4-7798-C0A9-A9134281FC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72024" y="5138343"/>
            <a:ext cx="5162772" cy="926162"/>
          </a:xfrm>
          <a:solidFill>
            <a:schemeClr val="bg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540000" rIns="180000" anchor="ctr" anchorCtr="0"/>
          <a:lstStyle>
            <a:lvl1pPr marL="0" indent="0" rtl="0"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Delete unwanted text boxes from the slide. </a:t>
            </a:r>
          </a:p>
        </p:txBody>
      </p:sp>
      <p:graphicFrame>
        <p:nvGraphicFramePr>
          <p:cNvPr id="27" name="Object 26" hidden="1">
            <a:extLst>
              <a:ext uri="{FF2B5EF4-FFF2-40B4-BE49-F238E27FC236}">
                <a16:creationId xmlns:a16="http://schemas.microsoft.com/office/drawing/2014/main" id="{7164229B-1C14-5AD2-946B-0BC5AD90C7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79559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27" name="Object 26" hidden="1">
                        <a:extLst>
                          <a:ext uri="{FF2B5EF4-FFF2-40B4-BE49-F238E27FC236}">
                            <a16:creationId xmlns:a16="http://schemas.microsoft.com/office/drawing/2014/main" id="{7164229B-1C14-5AD2-946B-0BC5AD90C7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266773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D29421A-B5C0-FB96-755E-2A01620F8B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533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D29421A-B5C0-FB96-755E-2A01620F8B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D22B748-F5FB-F7EA-9FF9-6781C9DFC890}"/>
              </a:ext>
            </a:extLst>
          </p:cNvPr>
          <p:cNvSpPr/>
          <p:nvPr userDrawn="1"/>
        </p:nvSpPr>
        <p:spPr>
          <a:xfrm>
            <a:off x="5819188" y="2073359"/>
            <a:ext cx="6372814" cy="4784641"/>
          </a:xfrm>
          <a:custGeom>
            <a:avLst/>
            <a:gdLst>
              <a:gd name="connsiteX0" fmla="*/ 1578800 w 6372814"/>
              <a:gd name="connsiteY0" fmla="*/ 195 h 4784641"/>
              <a:gd name="connsiteX1" fmla="*/ 1697445 w 6372814"/>
              <a:gd name="connsiteY1" fmla="*/ 15262 h 4784641"/>
              <a:gd name="connsiteX2" fmla="*/ 6372813 w 6372814"/>
              <a:gd name="connsiteY2" fmla="*/ 1085353 h 4784641"/>
              <a:gd name="connsiteX3" fmla="*/ 6372814 w 6372814"/>
              <a:gd name="connsiteY3" fmla="*/ 4784641 h 4784641"/>
              <a:gd name="connsiteX4" fmla="*/ 0 w 6372814"/>
              <a:gd name="connsiteY4" fmla="*/ 4784641 h 4784641"/>
              <a:gd name="connsiteX5" fmla="*/ 989888 w 6372814"/>
              <a:gd name="connsiteY5" fmla="*/ 458607 h 4784641"/>
              <a:gd name="connsiteX6" fmla="*/ 1578800 w 6372814"/>
              <a:gd name="connsiteY6" fmla="*/ 195 h 47846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372814" h="4784641">
                <a:moveTo>
                  <a:pt x="1578800" y="195"/>
                </a:moveTo>
                <a:cubicBezTo>
                  <a:pt x="1618041" y="1202"/>
                  <a:pt x="1657751" y="6130"/>
                  <a:pt x="1697445" y="15262"/>
                </a:cubicBezTo>
                <a:lnTo>
                  <a:pt x="6372813" y="1085353"/>
                </a:lnTo>
                <a:lnTo>
                  <a:pt x="6372814" y="4784641"/>
                </a:lnTo>
                <a:lnTo>
                  <a:pt x="0" y="4784641"/>
                </a:lnTo>
                <a:lnTo>
                  <a:pt x="989888" y="458607"/>
                </a:lnTo>
                <a:cubicBezTo>
                  <a:pt x="1052337" y="178220"/>
                  <a:pt x="1304103" y="-6854"/>
                  <a:pt x="1578800" y="195"/>
                </a:cubicBezTo>
                <a:close/>
              </a:path>
            </a:pathLst>
          </a:custGeom>
          <a:solidFill>
            <a:schemeClr val="accent2">
              <a:alpha val="20000"/>
            </a:schemeClr>
          </a:solidFill>
          <a:ln w="78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1D30CCA-B5CE-044B-5D24-71633DEDABC0}"/>
              </a:ext>
            </a:extLst>
          </p:cNvPr>
          <p:cNvSpPr/>
          <p:nvPr/>
        </p:nvSpPr>
        <p:spPr>
          <a:xfrm>
            <a:off x="0" y="0"/>
            <a:ext cx="6691019" cy="5634744"/>
          </a:xfrm>
          <a:custGeom>
            <a:avLst/>
            <a:gdLst>
              <a:gd name="connsiteX0" fmla="*/ 14828 w 6691019"/>
              <a:gd name="connsiteY0" fmla="*/ 0 h 5634744"/>
              <a:gd name="connsiteX1" fmla="*/ 6691019 w 6691019"/>
              <a:gd name="connsiteY1" fmla="*/ 0 h 5634744"/>
              <a:gd name="connsiteX2" fmla="*/ 5506609 w 6691019"/>
              <a:gd name="connsiteY2" fmla="*/ 5176138 h 5634744"/>
              <a:gd name="connsiteX3" fmla="*/ 4917698 w 6691019"/>
              <a:gd name="connsiteY3" fmla="*/ 5634550 h 5634744"/>
              <a:gd name="connsiteX4" fmla="*/ 4799053 w 6691019"/>
              <a:gd name="connsiteY4" fmla="*/ 5619483 h 5634744"/>
              <a:gd name="connsiteX5" fmla="*/ 0 w 6691019"/>
              <a:gd name="connsiteY5" fmla="*/ 4521083 h 5634744"/>
              <a:gd name="connsiteX6" fmla="*/ 0 w 6691019"/>
              <a:gd name="connsiteY6" fmla="*/ 235655 h 5634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691019" h="5634744">
                <a:moveTo>
                  <a:pt x="14828" y="0"/>
                </a:moveTo>
                <a:lnTo>
                  <a:pt x="6691019" y="0"/>
                </a:lnTo>
                <a:lnTo>
                  <a:pt x="5506609" y="5176138"/>
                </a:lnTo>
                <a:cubicBezTo>
                  <a:pt x="5444160" y="5456525"/>
                  <a:pt x="5192394" y="5641599"/>
                  <a:pt x="4917698" y="5634550"/>
                </a:cubicBezTo>
                <a:cubicBezTo>
                  <a:pt x="4878457" y="5633543"/>
                  <a:pt x="4838746" y="5628615"/>
                  <a:pt x="4799053" y="5619483"/>
                </a:cubicBezTo>
                <a:lnTo>
                  <a:pt x="0" y="4521083"/>
                </a:lnTo>
                <a:lnTo>
                  <a:pt x="0" y="235655"/>
                </a:lnTo>
                <a:close/>
              </a:path>
            </a:pathLst>
          </a:custGeom>
          <a:solidFill>
            <a:schemeClr val="accent3">
              <a:alpha val="10000"/>
            </a:schemeClr>
          </a:solidFill>
          <a:ln w="7871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lvl="0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D817A-EF53-CAF0-A679-9C27D1483A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9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8C35BD-188D-088B-778E-2574D7F9FD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6228" y="1201774"/>
            <a:ext cx="4695750" cy="3403393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44AFB8-C456-5E73-BF8E-D84F890C8D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039050" y="3048000"/>
            <a:ext cx="4695750" cy="3044824"/>
          </a:xfrm>
        </p:spPr>
        <p:txBody>
          <a:bodyPr anchor="ctr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9E79E6D-4795-C5BB-F269-AEE60E4B49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3D9D0-7EFA-492E-9A3C-AED35ABF268A}" type="datetime1">
              <a:rPr lang="en-US" smtClean="0"/>
              <a:t>2/12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0608403-10E1-A90F-4658-C227DF4DAA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C6E3200-38CC-8903-8E7C-3312586FFA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FA39438-781B-0068-75B4-03C1BE4E4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9533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FA39438-781B-0068-75B4-03C1BE4E4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3473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ve Data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77F24F1-1B40-B065-6422-84A363E5B4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58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77F24F1-1B40-B065-6422-84A363E5B4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F68F733-D04C-5364-CBD1-B4A476ED2FFD}"/>
              </a:ext>
            </a:extLst>
          </p:cNvPr>
          <p:cNvSpPr/>
          <p:nvPr/>
        </p:nvSpPr>
        <p:spPr>
          <a:xfrm>
            <a:off x="6942582" y="0"/>
            <a:ext cx="52494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ptos Narrow" panose="020B00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1AE8DEAB-9847-4569-807B-2760D0062837}" type="datetime1">
              <a:rPr lang="en-US" smtClean="0"/>
              <a:pPr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</p:spPr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DE459215-39D9-9D32-420F-6DCBF27B7B4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57199" y="457201"/>
            <a:ext cx="6028183" cy="5635624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Aptos Narrow" panose="020B0004020202020204" pitchFamily="34" charset="0"/>
              </a:defRPr>
            </a:lvl1pPr>
          </a:lstStyle>
          <a:p>
            <a:r>
              <a:rPr lang="en-US"/>
              <a:t>Click on the icon to add live data. Edit the automatically generated spreadsheet to change data points on the chart.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1A840BA-AE24-6833-967B-3FCD338D8BC6}"/>
              </a:ext>
            </a:extLst>
          </p:cNvPr>
          <p:cNvSpPr/>
          <p:nvPr/>
        </p:nvSpPr>
        <p:spPr>
          <a:xfrm>
            <a:off x="7965943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>
              <a:latin typeface="Aptos Narrow" panose="020B0004020202020204" pitchFamily="34" charset="0"/>
            </a:endParaRP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8BD8E68-807C-5A09-5B81-8F33325DB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96163" y="2002515"/>
            <a:ext cx="4338637" cy="4099469"/>
          </a:xfrm>
        </p:spPr>
        <p:txBody>
          <a:bodyPr anchor="t"/>
          <a:lstStyle>
            <a:lvl1pPr>
              <a:defRPr sz="2400">
                <a:latin typeface="Aptos Narrow" panose="020B0004020202020204" pitchFamily="34" charset="0"/>
              </a:defRPr>
            </a:lvl1pPr>
            <a:lvl2pPr>
              <a:defRPr sz="2200">
                <a:latin typeface="Aptos Narrow" panose="020B0004020202020204" pitchFamily="34" charset="0"/>
              </a:defRPr>
            </a:lvl2pPr>
            <a:lvl3pPr>
              <a:defRPr sz="2200">
                <a:latin typeface="Aptos Narrow" panose="020B0004020202020204" pitchFamily="34" charset="0"/>
              </a:defRPr>
            </a:lvl3pPr>
            <a:lvl4pPr>
              <a:defRPr sz="2200">
                <a:latin typeface="Aptos Narrow" panose="020B0004020202020204" pitchFamily="34" charset="0"/>
              </a:defRPr>
            </a:lvl4pPr>
            <a:lvl5pPr>
              <a:defRPr sz="2200">
                <a:latin typeface="Aptos Narrow" panose="020B00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89886D0-FA9A-6183-78A2-3873E59016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35809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89886D0-FA9A-6183-78A2-3873E59016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69702F-4143-3E57-A71B-8D4AE3A14D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96162" y="358160"/>
            <a:ext cx="4338637" cy="1102340"/>
          </a:xfrm>
        </p:spPr>
        <p:txBody>
          <a:bodyPr/>
          <a:lstStyle>
            <a:lvl1pPr>
              <a:defRPr>
                <a:latin typeface="Aptos Narrow" panose="020B00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154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5CBB890-2B34-0EDC-86F4-4C979D60C8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251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5CBB890-2B34-0EDC-86F4-4C979D60C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>
            <a:extLst>
              <a:ext uri="{FF2B5EF4-FFF2-40B4-BE49-F238E27FC236}">
                <a16:creationId xmlns:a16="http://schemas.microsoft.com/office/drawing/2014/main" id="{2F68F733-D04C-5364-CBD1-B4A476ED2FFD}"/>
              </a:ext>
            </a:extLst>
          </p:cNvPr>
          <p:cNvSpPr/>
          <p:nvPr/>
        </p:nvSpPr>
        <p:spPr>
          <a:xfrm>
            <a:off x="0" y="0"/>
            <a:ext cx="57066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2E7E85-164D-425E-84A8-872DEF8B7B74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8" name="Chart Placeholder 17">
            <a:extLst>
              <a:ext uri="{FF2B5EF4-FFF2-40B4-BE49-F238E27FC236}">
                <a16:creationId xmlns:a16="http://schemas.microsoft.com/office/drawing/2014/main" id="{DE459215-39D9-9D32-420F-6DCBF27B7B48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6096000" y="457201"/>
            <a:ext cx="5635182" cy="5635624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</a:t>
            </a:r>
            <a:br>
              <a:rPr lang="en-US"/>
            </a:br>
            <a:r>
              <a:rPr lang="en-US"/>
              <a:t>generated spreadsheet to change data points on the chart.</a:t>
            </a: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989E78D6-865E-23E7-3982-71F77BAC7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4823012" cy="1345028"/>
          </a:xfrm>
        </p:spPr>
        <p:txBody>
          <a:bodyPr vert="horz" lIns="0" anchor="ctr" anchorCtr="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8BD8E68-807C-5A09-5B81-8F33325DB87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7773" y="2002515"/>
            <a:ext cx="4817723" cy="4090310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1C95B822-3407-8CAF-5F98-FD259482E694}"/>
              </a:ext>
            </a:extLst>
          </p:cNvPr>
          <p:cNvSpPr/>
          <p:nvPr/>
        </p:nvSpPr>
        <p:spPr>
          <a:xfrm flipH="1">
            <a:off x="0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40562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14D0C1E9-6CD1-BEDE-A892-942E9CA1A3E0}"/>
              </a:ext>
            </a:extLst>
          </p:cNvPr>
          <p:cNvSpPr/>
          <p:nvPr/>
        </p:nvSpPr>
        <p:spPr>
          <a:xfrm>
            <a:off x="0" y="0"/>
            <a:ext cx="12192000" cy="223544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03D2574-B72E-A593-1F54-3759A9FCC98F}"/>
              </a:ext>
            </a:extLst>
          </p:cNvPr>
          <p:cNvGrpSpPr/>
          <p:nvPr/>
        </p:nvGrpSpPr>
        <p:grpSpPr>
          <a:xfrm>
            <a:off x="10356274" y="-1"/>
            <a:ext cx="1835725" cy="1584149"/>
            <a:chOff x="8901408" y="0"/>
            <a:chExt cx="3290592" cy="2839633"/>
          </a:xfrm>
          <a:solidFill>
            <a:schemeClr val="accent1">
              <a:alpha val="30000"/>
            </a:schemeClr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97763564-8B4C-22B8-B7F5-9A76D73A7A24}"/>
                </a:ext>
              </a:extLst>
            </p:cNvPr>
            <p:cNvSpPr/>
            <p:nvPr/>
          </p:nvSpPr>
          <p:spPr>
            <a:xfrm rot="2700000" flipH="1" flipV="1">
              <a:off x="8816518" y="661068"/>
              <a:ext cx="2808655" cy="1548475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56C2C10-C279-57CC-45E5-292F582C9CE8}"/>
                </a:ext>
              </a:extLst>
            </p:cNvPr>
            <p:cNvSpPr/>
            <p:nvPr/>
          </p:nvSpPr>
          <p:spPr>
            <a:xfrm rot="10800000">
              <a:off x="10140700" y="1213054"/>
              <a:ext cx="2051300" cy="1548474"/>
            </a:xfrm>
            <a:custGeom>
              <a:avLst/>
              <a:gdLst>
                <a:gd name="connsiteX0" fmla="*/ 646973 w 2051300"/>
                <a:gd name="connsiteY0" fmla="*/ 345605 h 1548474"/>
                <a:gd name="connsiteX1" fmla="*/ 646974 w 2051300"/>
                <a:gd name="connsiteY1" fmla="*/ 345602 h 1548474"/>
                <a:gd name="connsiteX2" fmla="*/ 646973 w 2051300"/>
                <a:gd name="connsiteY2" fmla="*/ 345601 h 1548474"/>
                <a:gd name="connsiteX3" fmla="*/ 646970 w 2051300"/>
                <a:gd name="connsiteY3" fmla="*/ 345602 h 1548474"/>
                <a:gd name="connsiteX4" fmla="*/ 669329 w 2051300"/>
                <a:gd name="connsiteY4" fmla="*/ 1548474 h 1548474"/>
                <a:gd name="connsiteX5" fmla="*/ 646973 w 2051300"/>
                <a:gd name="connsiteY5" fmla="*/ 1546331 h 1548474"/>
                <a:gd name="connsiteX6" fmla="*/ 624615 w 2051300"/>
                <a:gd name="connsiteY6" fmla="*/ 1548474 h 1548474"/>
                <a:gd name="connsiteX7" fmla="*/ 352592 w 2051300"/>
                <a:gd name="connsiteY7" fmla="*/ 1435799 h 1548474"/>
                <a:gd name="connsiteX8" fmla="*/ 26394 w 2051300"/>
                <a:gd name="connsiteY8" fmla="*/ 1109601 h 1548474"/>
                <a:gd name="connsiteX9" fmla="*/ 26394 w 2051300"/>
                <a:gd name="connsiteY9" fmla="*/ 1109597 h 1548474"/>
                <a:gd name="connsiteX10" fmla="*/ 0 w 2051300"/>
                <a:gd name="connsiteY10" fmla="*/ 1083203 h 1548474"/>
                <a:gd name="connsiteX11" fmla="*/ 0 w 2051300"/>
                <a:gd name="connsiteY11" fmla="*/ 6822 h 1548474"/>
                <a:gd name="connsiteX12" fmla="*/ 26396 w 2051300"/>
                <a:gd name="connsiteY12" fmla="*/ 9352 h 1548474"/>
                <a:gd name="connsiteX13" fmla="*/ 26396 w 2051300"/>
                <a:gd name="connsiteY13" fmla="*/ 9355 h 1548474"/>
                <a:gd name="connsiteX14" fmla="*/ 34680 w 2051300"/>
                <a:gd name="connsiteY14" fmla="*/ 10150 h 1548474"/>
                <a:gd name="connsiteX15" fmla="*/ 84094 w 2051300"/>
                <a:gd name="connsiteY15" fmla="*/ 59564 h 1548474"/>
                <a:gd name="connsiteX16" fmla="*/ 478377 w 2051300"/>
                <a:gd name="connsiteY16" fmla="*/ 269334 h 1548474"/>
                <a:gd name="connsiteX17" fmla="*/ 580490 w 2051300"/>
                <a:gd name="connsiteY17" fmla="*/ 279121 h 1548474"/>
                <a:gd name="connsiteX18" fmla="*/ 643784 w 2051300"/>
                <a:gd name="connsiteY18" fmla="*/ 342417 h 1548474"/>
                <a:gd name="connsiteX19" fmla="*/ 643784 w 2051300"/>
                <a:gd name="connsiteY19" fmla="*/ 342413 h 1548474"/>
                <a:gd name="connsiteX20" fmla="*/ 580490 w 2051300"/>
                <a:gd name="connsiteY20" fmla="*/ 279118 h 1548474"/>
                <a:gd name="connsiteX21" fmla="*/ 624288 w 2051300"/>
                <a:gd name="connsiteY21" fmla="*/ 283318 h 1548474"/>
                <a:gd name="connsiteX22" fmla="*/ 643784 w 2051300"/>
                <a:gd name="connsiteY22" fmla="*/ 281449 h 1548474"/>
                <a:gd name="connsiteX23" fmla="*/ 643784 w 2051300"/>
                <a:gd name="connsiteY23" fmla="*/ 280838 h 1548474"/>
                <a:gd name="connsiteX24" fmla="*/ 646973 w 2051300"/>
                <a:gd name="connsiteY24" fmla="*/ 281143 h 1548474"/>
                <a:gd name="connsiteX25" fmla="*/ 650160 w 2051300"/>
                <a:gd name="connsiteY25" fmla="*/ 280838 h 1548474"/>
                <a:gd name="connsiteX26" fmla="*/ 650160 w 2051300"/>
                <a:gd name="connsiteY26" fmla="*/ 281449 h 1548474"/>
                <a:gd name="connsiteX27" fmla="*/ 669656 w 2051300"/>
                <a:gd name="connsiteY27" fmla="*/ 283318 h 1548474"/>
                <a:gd name="connsiteX28" fmla="*/ 713454 w 2051300"/>
                <a:gd name="connsiteY28" fmla="*/ 279118 h 1548474"/>
                <a:gd name="connsiteX29" fmla="*/ 650160 w 2051300"/>
                <a:gd name="connsiteY29" fmla="*/ 342413 h 1548474"/>
                <a:gd name="connsiteX30" fmla="*/ 650160 w 2051300"/>
                <a:gd name="connsiteY30" fmla="*/ 342417 h 1548474"/>
                <a:gd name="connsiteX31" fmla="*/ 713454 w 2051300"/>
                <a:gd name="connsiteY31" fmla="*/ 279121 h 1548474"/>
                <a:gd name="connsiteX32" fmla="*/ 815567 w 2051300"/>
                <a:gd name="connsiteY32" fmla="*/ 269334 h 1548474"/>
                <a:gd name="connsiteX33" fmla="*/ 1209850 w 2051300"/>
                <a:gd name="connsiteY33" fmla="*/ 59564 h 1548474"/>
                <a:gd name="connsiteX34" fmla="*/ 1259264 w 2051300"/>
                <a:gd name="connsiteY34" fmla="*/ 10150 h 1548474"/>
                <a:gd name="connsiteX35" fmla="*/ 1267548 w 2051300"/>
                <a:gd name="connsiteY35" fmla="*/ 9355 h 1548474"/>
                <a:gd name="connsiteX36" fmla="*/ 1267548 w 2051300"/>
                <a:gd name="connsiteY36" fmla="*/ 9352 h 1548474"/>
                <a:gd name="connsiteX37" fmla="*/ 1365122 w 2051300"/>
                <a:gd name="connsiteY37" fmla="*/ 0 h 1548474"/>
                <a:gd name="connsiteX38" fmla="*/ 2001103 w 2051300"/>
                <a:gd name="connsiteY38" fmla="*/ 263433 h 1548474"/>
                <a:gd name="connsiteX39" fmla="*/ 2051300 w 2051300"/>
                <a:gd name="connsiteY39" fmla="*/ 313630 h 1548474"/>
                <a:gd name="connsiteX40" fmla="*/ 2051300 w 2051300"/>
                <a:gd name="connsiteY40" fmla="*/ 325847 h 1548474"/>
                <a:gd name="connsiteX41" fmla="*/ 1267550 w 2051300"/>
                <a:gd name="connsiteY41" fmla="*/ 1109597 h 1548474"/>
                <a:gd name="connsiteX42" fmla="*/ 1267550 w 2051300"/>
                <a:gd name="connsiteY42" fmla="*/ 1109601 h 1548474"/>
                <a:gd name="connsiteX43" fmla="*/ 941352 w 2051300"/>
                <a:gd name="connsiteY43" fmla="*/ 1435799 h 1548474"/>
                <a:gd name="connsiteX44" fmla="*/ 669329 w 2051300"/>
                <a:gd name="connsiteY44" fmla="*/ 1548474 h 1548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2051300" h="1548474">
                  <a:moveTo>
                    <a:pt x="646973" y="345605"/>
                  </a:moveTo>
                  <a:lnTo>
                    <a:pt x="646974" y="345602"/>
                  </a:lnTo>
                  <a:lnTo>
                    <a:pt x="646973" y="345601"/>
                  </a:lnTo>
                  <a:lnTo>
                    <a:pt x="646970" y="345602"/>
                  </a:lnTo>
                  <a:close/>
                  <a:moveTo>
                    <a:pt x="669329" y="1548474"/>
                  </a:moveTo>
                  <a:lnTo>
                    <a:pt x="646973" y="1546331"/>
                  </a:lnTo>
                  <a:lnTo>
                    <a:pt x="624615" y="1548474"/>
                  </a:lnTo>
                  <a:cubicBezTo>
                    <a:pt x="526162" y="1548474"/>
                    <a:pt x="427709" y="1510917"/>
                    <a:pt x="352592" y="1435799"/>
                  </a:cubicBezTo>
                  <a:lnTo>
                    <a:pt x="26394" y="1109601"/>
                  </a:lnTo>
                  <a:lnTo>
                    <a:pt x="26394" y="1109597"/>
                  </a:lnTo>
                  <a:lnTo>
                    <a:pt x="0" y="1083203"/>
                  </a:lnTo>
                  <a:lnTo>
                    <a:pt x="0" y="6822"/>
                  </a:lnTo>
                  <a:lnTo>
                    <a:pt x="26396" y="9352"/>
                  </a:lnTo>
                  <a:lnTo>
                    <a:pt x="26396" y="9355"/>
                  </a:lnTo>
                  <a:lnTo>
                    <a:pt x="34680" y="10150"/>
                  </a:lnTo>
                  <a:lnTo>
                    <a:pt x="84094" y="59564"/>
                  </a:lnTo>
                  <a:cubicBezTo>
                    <a:pt x="195972" y="171442"/>
                    <a:pt x="333916" y="241365"/>
                    <a:pt x="478377" y="269334"/>
                  </a:cubicBezTo>
                  <a:lnTo>
                    <a:pt x="580490" y="279121"/>
                  </a:lnTo>
                  <a:lnTo>
                    <a:pt x="643784" y="342417"/>
                  </a:lnTo>
                  <a:lnTo>
                    <a:pt x="643784" y="342413"/>
                  </a:lnTo>
                  <a:lnTo>
                    <a:pt x="580490" y="279118"/>
                  </a:lnTo>
                  <a:lnTo>
                    <a:pt x="624288" y="283318"/>
                  </a:lnTo>
                  <a:lnTo>
                    <a:pt x="643784" y="281449"/>
                  </a:lnTo>
                  <a:lnTo>
                    <a:pt x="643784" y="280838"/>
                  </a:lnTo>
                  <a:lnTo>
                    <a:pt x="646973" y="281143"/>
                  </a:lnTo>
                  <a:lnTo>
                    <a:pt x="650160" y="280838"/>
                  </a:lnTo>
                  <a:lnTo>
                    <a:pt x="650160" y="281449"/>
                  </a:lnTo>
                  <a:lnTo>
                    <a:pt x="669656" y="283318"/>
                  </a:lnTo>
                  <a:lnTo>
                    <a:pt x="713454" y="279118"/>
                  </a:lnTo>
                  <a:lnTo>
                    <a:pt x="650160" y="342413"/>
                  </a:lnTo>
                  <a:lnTo>
                    <a:pt x="650160" y="342417"/>
                  </a:lnTo>
                  <a:lnTo>
                    <a:pt x="713454" y="279121"/>
                  </a:lnTo>
                  <a:lnTo>
                    <a:pt x="815567" y="269334"/>
                  </a:lnTo>
                  <a:cubicBezTo>
                    <a:pt x="960028" y="241365"/>
                    <a:pt x="1097972" y="171442"/>
                    <a:pt x="1209850" y="59564"/>
                  </a:cubicBezTo>
                  <a:lnTo>
                    <a:pt x="1259264" y="10150"/>
                  </a:lnTo>
                  <a:lnTo>
                    <a:pt x="1267548" y="9355"/>
                  </a:lnTo>
                  <a:lnTo>
                    <a:pt x="1267548" y="9352"/>
                  </a:lnTo>
                  <a:lnTo>
                    <a:pt x="1365122" y="0"/>
                  </a:lnTo>
                  <a:cubicBezTo>
                    <a:pt x="1595302" y="0"/>
                    <a:pt x="1825482" y="87810"/>
                    <a:pt x="2001103" y="263433"/>
                  </a:cubicBezTo>
                  <a:lnTo>
                    <a:pt x="2051300" y="313630"/>
                  </a:lnTo>
                  <a:lnTo>
                    <a:pt x="2051300" y="325847"/>
                  </a:lnTo>
                  <a:lnTo>
                    <a:pt x="1267550" y="1109597"/>
                  </a:lnTo>
                  <a:lnTo>
                    <a:pt x="1267550" y="1109601"/>
                  </a:lnTo>
                  <a:lnTo>
                    <a:pt x="941352" y="1435799"/>
                  </a:lnTo>
                  <a:cubicBezTo>
                    <a:pt x="866235" y="1510917"/>
                    <a:pt x="767782" y="1548474"/>
                    <a:pt x="669329" y="1548474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0541F63-12C5-BC36-D4F0-D7D5000CD6D5}"/>
                </a:ext>
              </a:extLst>
            </p:cNvPr>
            <p:cNvSpPr/>
            <p:nvPr/>
          </p:nvSpPr>
          <p:spPr>
            <a:xfrm rot="16200000" flipH="1">
              <a:off x="8917500" y="-16092"/>
              <a:ext cx="1516291" cy="1548475"/>
            </a:xfrm>
            <a:custGeom>
              <a:avLst/>
              <a:gdLst>
                <a:gd name="connsiteX0" fmla="*/ 111961 w 1516291"/>
                <a:gd name="connsiteY0" fmla="*/ 345603 h 1548475"/>
                <a:gd name="connsiteX1" fmla="*/ 111964 w 1516291"/>
                <a:gd name="connsiteY1" fmla="*/ 345601 h 1548475"/>
                <a:gd name="connsiteX2" fmla="*/ 111966 w 1516291"/>
                <a:gd name="connsiteY2" fmla="*/ 345603 h 1548475"/>
                <a:gd name="connsiteX3" fmla="*/ 111964 w 1516291"/>
                <a:gd name="connsiteY3" fmla="*/ 345605 h 1548475"/>
                <a:gd name="connsiteX4" fmla="*/ 0 w 1516291"/>
                <a:gd name="connsiteY4" fmla="*/ 274762 h 1548475"/>
                <a:gd name="connsiteX5" fmla="*/ 0 w 1516291"/>
                <a:gd name="connsiteY5" fmla="*/ 1531039 h 1548475"/>
                <a:gd name="connsiteX6" fmla="*/ 89606 w 1516291"/>
                <a:gd name="connsiteY6" fmla="*/ 1548475 h 1548475"/>
                <a:gd name="connsiteX7" fmla="*/ 111964 w 1516291"/>
                <a:gd name="connsiteY7" fmla="*/ 1546332 h 1548475"/>
                <a:gd name="connsiteX8" fmla="*/ 134321 w 1516291"/>
                <a:gd name="connsiteY8" fmla="*/ 1548475 h 1548475"/>
                <a:gd name="connsiteX9" fmla="*/ 406343 w 1516291"/>
                <a:gd name="connsiteY9" fmla="*/ 1435800 h 1548475"/>
                <a:gd name="connsiteX10" fmla="*/ 732541 w 1516291"/>
                <a:gd name="connsiteY10" fmla="*/ 1109602 h 1548475"/>
                <a:gd name="connsiteX11" fmla="*/ 732541 w 1516291"/>
                <a:gd name="connsiteY11" fmla="*/ 1109597 h 1548475"/>
                <a:gd name="connsiteX12" fmla="*/ 1516291 w 1516291"/>
                <a:gd name="connsiteY12" fmla="*/ 325847 h 1548475"/>
                <a:gd name="connsiteX13" fmla="*/ 1516291 w 1516291"/>
                <a:gd name="connsiteY13" fmla="*/ 313630 h 1548475"/>
                <a:gd name="connsiteX14" fmla="*/ 1466094 w 1516291"/>
                <a:gd name="connsiteY14" fmla="*/ 263433 h 1548475"/>
                <a:gd name="connsiteX15" fmla="*/ 830113 w 1516291"/>
                <a:gd name="connsiteY15" fmla="*/ 0 h 1548475"/>
                <a:gd name="connsiteX16" fmla="*/ 732539 w 1516291"/>
                <a:gd name="connsiteY16" fmla="*/ 9352 h 1548475"/>
                <a:gd name="connsiteX17" fmla="*/ 732539 w 1516291"/>
                <a:gd name="connsiteY17" fmla="*/ 9355 h 1548475"/>
                <a:gd name="connsiteX18" fmla="*/ 724256 w 1516291"/>
                <a:gd name="connsiteY18" fmla="*/ 10149 h 1548475"/>
                <a:gd name="connsiteX19" fmla="*/ 674841 w 1516291"/>
                <a:gd name="connsiteY19" fmla="*/ 59564 h 1548475"/>
                <a:gd name="connsiteX20" fmla="*/ 280559 w 1516291"/>
                <a:gd name="connsiteY20" fmla="*/ 269334 h 1548475"/>
                <a:gd name="connsiteX21" fmla="*/ 178446 w 1516291"/>
                <a:gd name="connsiteY21" fmla="*/ 279121 h 1548475"/>
                <a:gd name="connsiteX22" fmla="*/ 115151 w 1516291"/>
                <a:gd name="connsiteY22" fmla="*/ 342417 h 1548475"/>
                <a:gd name="connsiteX23" fmla="*/ 115151 w 1516291"/>
                <a:gd name="connsiteY23" fmla="*/ 342413 h 1548475"/>
                <a:gd name="connsiteX24" fmla="*/ 178446 w 1516291"/>
                <a:gd name="connsiteY24" fmla="*/ 279118 h 1548475"/>
                <a:gd name="connsiteX25" fmla="*/ 134648 w 1516291"/>
                <a:gd name="connsiteY25" fmla="*/ 283318 h 1548475"/>
                <a:gd name="connsiteX26" fmla="*/ 115151 w 1516291"/>
                <a:gd name="connsiteY26" fmla="*/ 281449 h 1548475"/>
                <a:gd name="connsiteX27" fmla="*/ 115151 w 1516291"/>
                <a:gd name="connsiteY27" fmla="*/ 280838 h 1548475"/>
                <a:gd name="connsiteX28" fmla="*/ 111964 w 1516291"/>
                <a:gd name="connsiteY28" fmla="*/ 281143 h 1548475"/>
                <a:gd name="connsiteX29" fmla="*/ 108776 w 1516291"/>
                <a:gd name="connsiteY29" fmla="*/ 280838 h 1548475"/>
                <a:gd name="connsiteX30" fmla="*/ 108776 w 1516291"/>
                <a:gd name="connsiteY30" fmla="*/ 281449 h 1548475"/>
                <a:gd name="connsiteX31" fmla="*/ 89279 w 1516291"/>
                <a:gd name="connsiteY31" fmla="*/ 283318 h 1548475"/>
                <a:gd name="connsiteX32" fmla="*/ 45481 w 1516291"/>
                <a:gd name="connsiteY32" fmla="*/ 279118 h 1548475"/>
                <a:gd name="connsiteX33" fmla="*/ 108776 w 1516291"/>
                <a:gd name="connsiteY33" fmla="*/ 342413 h 1548475"/>
                <a:gd name="connsiteX34" fmla="*/ 108776 w 1516291"/>
                <a:gd name="connsiteY34" fmla="*/ 342417 h 1548475"/>
                <a:gd name="connsiteX35" fmla="*/ 45481 w 1516291"/>
                <a:gd name="connsiteY35" fmla="*/ 279121 h 1548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516291" h="1548475">
                  <a:moveTo>
                    <a:pt x="111961" y="345603"/>
                  </a:moveTo>
                  <a:lnTo>
                    <a:pt x="111964" y="345601"/>
                  </a:lnTo>
                  <a:lnTo>
                    <a:pt x="111966" y="345603"/>
                  </a:lnTo>
                  <a:lnTo>
                    <a:pt x="111964" y="345605"/>
                  </a:lnTo>
                  <a:close/>
                  <a:moveTo>
                    <a:pt x="0" y="274762"/>
                  </a:moveTo>
                  <a:lnTo>
                    <a:pt x="0" y="1531039"/>
                  </a:lnTo>
                  <a:lnTo>
                    <a:pt x="89606" y="1548475"/>
                  </a:lnTo>
                  <a:lnTo>
                    <a:pt x="111964" y="1546332"/>
                  </a:lnTo>
                  <a:lnTo>
                    <a:pt x="134321" y="1548475"/>
                  </a:lnTo>
                  <a:cubicBezTo>
                    <a:pt x="232774" y="1548475"/>
                    <a:pt x="331227" y="1510918"/>
                    <a:pt x="406343" y="1435800"/>
                  </a:cubicBezTo>
                  <a:lnTo>
                    <a:pt x="732541" y="1109602"/>
                  </a:lnTo>
                  <a:lnTo>
                    <a:pt x="732541" y="1109597"/>
                  </a:lnTo>
                  <a:lnTo>
                    <a:pt x="1516291" y="325847"/>
                  </a:lnTo>
                  <a:lnTo>
                    <a:pt x="1516291" y="313630"/>
                  </a:lnTo>
                  <a:lnTo>
                    <a:pt x="1466094" y="263433"/>
                  </a:lnTo>
                  <a:cubicBezTo>
                    <a:pt x="1290473" y="87810"/>
                    <a:pt x="1060293" y="0"/>
                    <a:pt x="830113" y="0"/>
                  </a:cubicBezTo>
                  <a:lnTo>
                    <a:pt x="732539" y="9352"/>
                  </a:lnTo>
                  <a:lnTo>
                    <a:pt x="732539" y="9355"/>
                  </a:lnTo>
                  <a:lnTo>
                    <a:pt x="724256" y="10149"/>
                  </a:lnTo>
                  <a:lnTo>
                    <a:pt x="674841" y="59564"/>
                  </a:lnTo>
                  <a:cubicBezTo>
                    <a:pt x="562963" y="171442"/>
                    <a:pt x="425019" y="241365"/>
                    <a:pt x="280559" y="269334"/>
                  </a:cubicBezTo>
                  <a:lnTo>
                    <a:pt x="178446" y="279121"/>
                  </a:lnTo>
                  <a:lnTo>
                    <a:pt x="115151" y="342417"/>
                  </a:lnTo>
                  <a:lnTo>
                    <a:pt x="115151" y="342413"/>
                  </a:lnTo>
                  <a:lnTo>
                    <a:pt x="178446" y="279118"/>
                  </a:lnTo>
                  <a:lnTo>
                    <a:pt x="134648" y="283318"/>
                  </a:lnTo>
                  <a:lnTo>
                    <a:pt x="115151" y="281449"/>
                  </a:lnTo>
                  <a:lnTo>
                    <a:pt x="115151" y="280838"/>
                  </a:lnTo>
                  <a:lnTo>
                    <a:pt x="111964" y="281143"/>
                  </a:lnTo>
                  <a:lnTo>
                    <a:pt x="108776" y="280838"/>
                  </a:lnTo>
                  <a:lnTo>
                    <a:pt x="108776" y="281449"/>
                  </a:lnTo>
                  <a:lnTo>
                    <a:pt x="89279" y="283318"/>
                  </a:lnTo>
                  <a:lnTo>
                    <a:pt x="45481" y="279118"/>
                  </a:lnTo>
                  <a:lnTo>
                    <a:pt x="108776" y="342413"/>
                  </a:lnTo>
                  <a:lnTo>
                    <a:pt x="108776" y="342417"/>
                  </a:lnTo>
                  <a:lnTo>
                    <a:pt x="45481" y="279121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01D7DD9-2299-BAF4-FBEE-677FE83914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174D3A-3DB0-482E-81E2-35B0248A0BEF}" type="datetime1">
              <a:rPr lang="en-US" smtClean="0"/>
              <a:t>2/12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823BED-A1E6-47D8-8252-B96550707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50E315-86A2-DD07-4808-84CB0A23C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E24471E-805E-19FA-067D-3B3C3E98F15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1046181"/>
            <a:ext cx="9347200" cy="108784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text here. Increase or decrease font size if needed. Bold key information.</a:t>
            </a:r>
          </a:p>
        </p:txBody>
      </p:sp>
      <p:sp>
        <p:nvSpPr>
          <p:cNvPr id="17" name="Chart Placeholder 17">
            <a:extLst>
              <a:ext uri="{FF2B5EF4-FFF2-40B4-BE49-F238E27FC236}">
                <a16:creationId xmlns:a16="http://schemas.microsoft.com/office/drawing/2014/main" id="{3A765986-F4E8-4A4B-635F-04F7CCED8569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70718" y="2235443"/>
            <a:ext cx="7504882" cy="3867448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</a:t>
            </a:r>
            <a:br>
              <a:rPr lang="en-US"/>
            </a:br>
            <a:r>
              <a:rPr lang="en-US"/>
              <a:t>generated spreadsheet to change data points on the chart.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B0C029B-4C15-8ACB-6E2D-9D2EDFA85D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58163" y="2554009"/>
            <a:ext cx="3562350" cy="3538816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EAA3E97-E3E2-FC73-DE33-D06DEBCB9E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9347200" cy="6578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655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ve Data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94F16C8-7DD2-9DE5-3A88-0CA7139905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5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94F16C8-7DD2-9DE5-3A88-0CA713990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: Top Corners Rounded 12">
            <a:extLst>
              <a:ext uri="{FF2B5EF4-FFF2-40B4-BE49-F238E27FC236}">
                <a16:creationId xmlns:a16="http://schemas.microsoft.com/office/drawing/2014/main" id="{8EC1BB50-B9AC-2B48-16F9-AA355255605D}"/>
              </a:ext>
            </a:extLst>
          </p:cNvPr>
          <p:cNvSpPr>
            <a:spLocks/>
          </p:cNvSpPr>
          <p:nvPr/>
        </p:nvSpPr>
        <p:spPr>
          <a:xfrm>
            <a:off x="4490720" y="1196975"/>
            <a:ext cx="7244079" cy="4895849"/>
          </a:xfrm>
          <a:prstGeom prst="round2SameRect">
            <a:avLst>
              <a:gd name="adj1" fmla="val 0"/>
              <a:gd name="adj2" fmla="val 9778"/>
            </a:avLst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0DF76-1202-4248-AA52-1A6EDB3C1D47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Chart Placeholder 17">
            <a:extLst>
              <a:ext uri="{FF2B5EF4-FFF2-40B4-BE49-F238E27FC236}">
                <a16:creationId xmlns:a16="http://schemas.microsoft.com/office/drawing/2014/main" id="{C12B3CDC-586B-C46D-E41E-ECFDB30148F4}"/>
              </a:ext>
            </a:extLst>
          </p:cNvPr>
          <p:cNvSpPr>
            <a:spLocks noGrp="1"/>
          </p:cNvSpPr>
          <p:nvPr>
            <p:ph type="chart" sz="quarter" idx="17" hasCustomPrompt="1"/>
          </p:nvPr>
        </p:nvSpPr>
        <p:spPr>
          <a:xfrm>
            <a:off x="4693920" y="2267187"/>
            <a:ext cx="6815551" cy="3393837"/>
          </a:xfrm>
        </p:spPr>
        <p:txBody>
          <a:bodyPr bIns="1188000" anchor="ctr" anchorCtr="0"/>
          <a:lstStyle>
            <a:lvl1pPr marL="0" indent="0" algn="ctr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live data. Edit the automatically generated spreadsheet to change data points on the chart.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83973636-DA52-D6D1-E85D-B94D3EDC2EF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" y="1196975"/>
            <a:ext cx="3759200" cy="4787900"/>
          </a:xfrm>
        </p:spPr>
        <p:txBody>
          <a:bodyPr anchor="t"/>
          <a:lstStyle>
            <a:lvl1pPr>
              <a:defRPr sz="24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61439504-33E7-4AF3-3625-DFCD0FB196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90720" y="1196976"/>
            <a:ext cx="7244079" cy="823912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 anchorCtr="0"/>
          <a:lstStyle>
            <a:lvl1pPr marL="0" indent="0" algn="ctr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62866F72-FCA1-BC72-7FB4-112C0E165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5151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62866F72-FCA1-BC72-7FB4-112C0E165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097382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&amp; Text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65BC52-DE95-E90C-5967-C3152DD8B5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8639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65BC52-DE95-E90C-5967-C3152DD8B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02CF4CB-670C-72C3-CAEB-B093F04C9F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5651638 w 12192000"/>
              <a:gd name="connsiteY1" fmla="*/ 0 h 6858000"/>
              <a:gd name="connsiteX2" fmla="*/ 6314542 w 12192000"/>
              <a:gd name="connsiteY2" fmla="*/ 4053363 h 6858000"/>
              <a:gd name="connsiteX3" fmla="*/ 7077258 w 12192000"/>
              <a:gd name="connsiteY3" fmla="*/ 4600845 h 6858000"/>
              <a:gd name="connsiteX4" fmla="*/ 12192000 w 12192000"/>
              <a:gd name="connsiteY4" fmla="*/ 3764070 h 6858000"/>
              <a:gd name="connsiteX5" fmla="*/ 12192000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5651638" y="0"/>
                </a:lnTo>
                <a:lnTo>
                  <a:pt x="6314542" y="4053363"/>
                </a:lnTo>
                <a:cubicBezTo>
                  <a:pt x="6372007" y="4418004"/>
                  <a:pt x="6715749" y="4660401"/>
                  <a:pt x="7077258" y="4600845"/>
                </a:cubicBezTo>
                <a:lnTo>
                  <a:pt x="12192000" y="376407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1440000" tIns="1332000" rIns="7200000"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2"/>
                </a:solidFill>
              </a:defRPr>
            </a:lvl1pPr>
          </a:lstStyle>
          <a:p>
            <a:r>
              <a:rPr lang="en-GB"/>
              <a:t>Click on the icon to add an image in the background placeholder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9080EF-4B52-C15A-088B-3C0819D6B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4A3F7DB-DF03-4681-AF6C-184A87C6F3CD}" type="datetime1">
              <a:rPr lang="en-US" smtClean="0"/>
              <a:pPr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D7ACAD-2B59-ADA0-5CD1-80056C11E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E732E4F-ABEB-7E8A-CF3A-F11A54F4E3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24649" y="800100"/>
            <a:ext cx="5010151" cy="1810097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2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lace paragraph text here. Increase or decrease font size as needed. Use bolded text and color to highlight key information. </a:t>
            </a:r>
          </a:p>
        </p:txBody>
      </p:sp>
      <p:sp>
        <p:nvSpPr>
          <p:cNvPr id="10" name="Text Placeholder 23">
            <a:extLst>
              <a:ext uri="{FF2B5EF4-FFF2-40B4-BE49-F238E27FC236}">
                <a16:creationId xmlns:a16="http://schemas.microsoft.com/office/drawing/2014/main" id="{A9C4BF7A-2213-C9C2-F5FA-2D5E64B974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4649" y="2610197"/>
            <a:ext cx="5010151" cy="617786"/>
          </a:xfrm>
        </p:spPr>
        <p:txBody>
          <a:bodyPr/>
          <a:lstStyle>
            <a:lvl1pPr marL="0" indent="0" rtl="0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peaker’s name, job title &amp; organiz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BB1BF76-4071-9A90-E503-DEF1530088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A92104E-AF1B-44FD-0122-C27B0FC984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9577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4274A48-82F7-3046-88BE-69C4B5A2EE3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828115 h 6858000"/>
              <a:gd name="connsiteX3" fmla="*/ 4484160 w 12192000"/>
              <a:gd name="connsiteY3" fmla="*/ 2974987 h 6858000"/>
              <a:gd name="connsiteX4" fmla="*/ 4045321 w 12192000"/>
              <a:gd name="connsiteY4" fmla="*/ 3752664 h 6858000"/>
              <a:gd name="connsiteX5" fmla="*/ 4910253 w 12192000"/>
              <a:gd name="connsiteY5" fmla="*/ 6858000 h 6858000"/>
              <a:gd name="connsiteX6" fmla="*/ 0 w 1219200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828115"/>
                </a:lnTo>
                <a:lnTo>
                  <a:pt x="4484160" y="2974987"/>
                </a:lnTo>
                <a:cubicBezTo>
                  <a:pt x="4148228" y="3068556"/>
                  <a:pt x="3951753" y="3416733"/>
                  <a:pt x="4045321" y="3752664"/>
                </a:cubicBezTo>
                <a:lnTo>
                  <a:pt x="491025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720000" bIns="4644000" anchor="ctr" anchorCtr="0">
            <a:noAutofit/>
          </a:bodyPr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on the icon to add a background image into the placeholder.</a:t>
            </a:r>
          </a:p>
        </p:txBody>
      </p:sp>
      <p:sp>
        <p:nvSpPr>
          <p:cNvPr id="25" name="Text Placeholder 34">
            <a:extLst>
              <a:ext uri="{FF2B5EF4-FFF2-40B4-BE49-F238E27FC236}">
                <a16:creationId xmlns:a16="http://schemas.microsoft.com/office/drawing/2014/main" id="{BAFCB53A-47A1-AE5F-92FA-8FE1A72B28F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8400" y="4077090"/>
            <a:ext cx="6756399" cy="2015735"/>
          </a:xfrm>
        </p:spPr>
        <p:txBody>
          <a:bodyPr lIns="72000" rIns="0"/>
          <a:lstStyle>
            <a:lvl1pPr marL="0" indent="0" algn="r">
              <a:spcBef>
                <a:spcPts val="0"/>
              </a:spcBef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Add paragraph text here. Increase or decrease font size as needed. Use bolded text and color to highlight key information. </a:t>
            </a:r>
          </a:p>
        </p:txBody>
      </p:sp>
      <p:sp>
        <p:nvSpPr>
          <p:cNvPr id="26" name="Text Placeholder 40">
            <a:extLst>
              <a:ext uri="{FF2B5EF4-FFF2-40B4-BE49-F238E27FC236}">
                <a16:creationId xmlns:a16="http://schemas.microsoft.com/office/drawing/2014/main" id="{8F71D575-78C9-53F6-473F-A3D9DAC534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4600" y="3046576"/>
            <a:ext cx="5410199" cy="1030513"/>
          </a:xfrm>
        </p:spPr>
        <p:txBody>
          <a:bodyPr lIns="72000" rIns="0" bIns="144000" anchor="b" anchorCtr="0"/>
          <a:lstStyle>
            <a:lvl1pPr marL="0" indent="0" algn="r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a key highlight here. </a:t>
            </a:r>
            <a:br>
              <a:rPr lang="en-US"/>
            </a:br>
            <a:r>
              <a:rPr lang="en-US"/>
              <a:t>Keep the text short. 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F15CADCC-E6C6-320E-C35F-689078EC758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E9526DA-EAA0-CEC5-1295-29B2279A4C2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C174345-0D53-3EB4-FAC4-9143C33935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3768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1E96A6B-5B0D-F43D-8276-ADD5E8AE09D7}"/>
              </a:ext>
            </a:extLst>
          </p:cNvPr>
          <p:cNvSpPr/>
          <p:nvPr userDrawn="1"/>
        </p:nvSpPr>
        <p:spPr>
          <a:xfrm>
            <a:off x="0" y="0"/>
            <a:ext cx="12192001" cy="6858002"/>
          </a:xfrm>
          <a:custGeom>
            <a:avLst/>
            <a:gdLst>
              <a:gd name="connsiteX0" fmla="*/ 12192000 w 12192001"/>
              <a:gd name="connsiteY0" fmla="*/ 2752968 h 6858002"/>
              <a:gd name="connsiteX1" fmla="*/ 12192001 w 12192001"/>
              <a:gd name="connsiteY1" fmla="*/ 2752968 h 6858002"/>
              <a:gd name="connsiteX2" fmla="*/ 12192001 w 12192001"/>
              <a:gd name="connsiteY2" fmla="*/ 6858002 h 6858002"/>
              <a:gd name="connsiteX3" fmla="*/ 4930076 w 12192001"/>
              <a:gd name="connsiteY3" fmla="*/ 6858001 h 6858002"/>
              <a:gd name="connsiteX4" fmla="*/ 4930077 w 12192001"/>
              <a:gd name="connsiteY4" fmla="*/ 6858000 h 6858002"/>
              <a:gd name="connsiteX5" fmla="*/ 12192000 w 12192001"/>
              <a:gd name="connsiteY5" fmla="*/ 6858000 h 6858002"/>
              <a:gd name="connsiteX6" fmla="*/ 0 w 12192001"/>
              <a:gd name="connsiteY6" fmla="*/ 0 h 6858002"/>
              <a:gd name="connsiteX7" fmla="*/ 12192000 w 12192001"/>
              <a:gd name="connsiteY7" fmla="*/ 0 h 6858002"/>
              <a:gd name="connsiteX8" fmla="*/ 12192000 w 12192001"/>
              <a:gd name="connsiteY8" fmla="*/ 2752968 h 6858002"/>
              <a:gd name="connsiteX9" fmla="*/ 7533925 w 12192001"/>
              <a:gd name="connsiteY9" fmla="*/ 1231090 h 6858002"/>
              <a:gd name="connsiteX10" fmla="*/ 7390037 w 12192001"/>
              <a:gd name="connsiteY10" fmla="*/ 1199353 h 6858002"/>
              <a:gd name="connsiteX11" fmla="*/ 7264676 w 12192001"/>
              <a:gd name="connsiteY11" fmla="*/ 1195577 h 6858002"/>
              <a:gd name="connsiteX12" fmla="*/ 6616276 w 12192001"/>
              <a:gd name="connsiteY12" fmla="*/ 1696019 h 6858002"/>
              <a:gd name="connsiteX13" fmla="*/ 4930077 w 12192001"/>
              <a:gd name="connsiteY13" fmla="*/ 6858000 h 6858002"/>
              <a:gd name="connsiteX14" fmla="*/ 0 w 12192001"/>
              <a:gd name="connsiteY14" fmla="*/ 685800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192001" h="6858002">
                <a:moveTo>
                  <a:pt x="12192000" y="2752968"/>
                </a:moveTo>
                <a:lnTo>
                  <a:pt x="12192001" y="2752968"/>
                </a:lnTo>
                <a:lnTo>
                  <a:pt x="12192001" y="6858002"/>
                </a:lnTo>
                <a:lnTo>
                  <a:pt x="4930076" y="6858001"/>
                </a:lnTo>
                <a:lnTo>
                  <a:pt x="4930077" y="6858000"/>
                </a:lnTo>
                <a:lnTo>
                  <a:pt x="12192000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2752968"/>
                </a:lnTo>
                <a:lnTo>
                  <a:pt x="7533925" y="1231090"/>
                </a:lnTo>
                <a:cubicBezTo>
                  <a:pt x="7486243" y="1215454"/>
                  <a:pt x="7438072" y="1204971"/>
                  <a:pt x="7390037" y="1199353"/>
                </a:cubicBezTo>
                <a:cubicBezTo>
                  <a:pt x="7348005" y="1194436"/>
                  <a:pt x="7306078" y="1193242"/>
                  <a:pt x="7264676" y="1195577"/>
                </a:cubicBezTo>
                <a:cubicBezTo>
                  <a:pt x="6974857" y="1211916"/>
                  <a:pt x="6710722" y="1401105"/>
                  <a:pt x="6616276" y="1696019"/>
                </a:cubicBezTo>
                <a:lnTo>
                  <a:pt x="493007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50BBB068-ABD8-6FA3-2B10-341AE0C2AA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80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50BBB068-ABD8-6FA3-2B10-341AE0C2AA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57CBF33-48B4-A8F6-359B-B0F36CB027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7755" y="471831"/>
            <a:ext cx="5659917" cy="2100359"/>
          </a:xfrm>
        </p:spPr>
        <p:txBody>
          <a:bodyPr vert="horz" anchor="b"/>
          <a:lstStyle>
            <a:lvl1pPr algn="l"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A9ACD1-947C-4891-6344-5049B8DEC6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67755" y="2605114"/>
            <a:ext cx="5638800" cy="707875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D08B5EFD-53C4-4EB9-28F8-C98C9F7256A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7755" y="3345913"/>
            <a:ext cx="5638800" cy="685800"/>
          </a:xfrm>
        </p:spPr>
        <p:txBody>
          <a:bodyPr anchor="ctr" anchorCtr="0"/>
          <a:lstStyle>
            <a:lvl1pPr marL="0" indent="0"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Date &amp; other information</a:t>
            </a:r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20DA6A39-1C0B-7809-7D89-5B99932EBBA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739096" y="1135033"/>
            <a:ext cx="7367200" cy="5722968"/>
          </a:xfrm>
          <a:custGeom>
            <a:avLst/>
            <a:gdLst>
              <a:gd name="connsiteX0" fmla="*/ 1827326 w 7367200"/>
              <a:gd name="connsiteY0" fmla="*/ 587241 h 5722968"/>
              <a:gd name="connsiteX1" fmla="*/ 1954927 w 7367200"/>
              <a:gd name="connsiteY1" fmla="*/ 606483 h 5722968"/>
              <a:gd name="connsiteX2" fmla="*/ 6452904 w 7367200"/>
              <a:gd name="connsiteY2" fmla="*/ 1747180 h 5722968"/>
              <a:gd name="connsiteX3" fmla="*/ 6452904 w 7367200"/>
              <a:gd name="connsiteY3" fmla="*/ 5722968 h 5722968"/>
              <a:gd name="connsiteX4" fmla="*/ 0 w 7367200"/>
              <a:gd name="connsiteY4" fmla="*/ 5722967 h 5722968"/>
              <a:gd name="connsiteX5" fmla="*/ 1180524 w 7367200"/>
              <a:gd name="connsiteY5" fmla="*/ 1066875 h 5722968"/>
              <a:gd name="connsiteX6" fmla="*/ 1827326 w 7367200"/>
              <a:gd name="connsiteY6" fmla="*/ 587241 h 5722968"/>
              <a:gd name="connsiteX7" fmla="*/ 7367199 w 7367200"/>
              <a:gd name="connsiteY7" fmla="*/ 0 h 5722968"/>
              <a:gd name="connsiteX8" fmla="*/ 7367200 w 7367200"/>
              <a:gd name="connsiteY8" fmla="*/ 0 h 5722968"/>
              <a:gd name="connsiteX9" fmla="*/ 7361847 w 7367200"/>
              <a:gd name="connsiteY9" fmla="*/ 61941 h 5722968"/>
              <a:gd name="connsiteX10" fmla="*/ 7361846 w 7367200"/>
              <a:gd name="connsiteY10" fmla="*/ 61941 h 57229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67200" h="5722968">
                <a:moveTo>
                  <a:pt x="1827326" y="587241"/>
                </a:moveTo>
                <a:cubicBezTo>
                  <a:pt x="1869630" y="589316"/>
                  <a:pt x="1912341" y="595633"/>
                  <a:pt x="1954927" y="606483"/>
                </a:cubicBezTo>
                <a:lnTo>
                  <a:pt x="6452904" y="1747180"/>
                </a:lnTo>
                <a:lnTo>
                  <a:pt x="6452904" y="5722968"/>
                </a:lnTo>
                <a:lnTo>
                  <a:pt x="0" y="5722967"/>
                </a:lnTo>
                <a:lnTo>
                  <a:pt x="1180524" y="1066875"/>
                </a:lnTo>
                <a:cubicBezTo>
                  <a:pt x="1254954" y="766000"/>
                  <a:pt x="1531192" y="572711"/>
                  <a:pt x="1827326" y="587241"/>
                </a:cubicBezTo>
                <a:close/>
                <a:moveTo>
                  <a:pt x="7367199" y="0"/>
                </a:moveTo>
                <a:lnTo>
                  <a:pt x="7367200" y="0"/>
                </a:lnTo>
                <a:lnTo>
                  <a:pt x="7361847" y="61941"/>
                </a:lnTo>
                <a:lnTo>
                  <a:pt x="7361846" y="6194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lIns="72000" tIns="118800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on the icon to add a picture in th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987DFA5-8439-0B30-5F93-147E40F8460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F1168C-C30F-C805-DAF9-28A2829E8B2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DB45AD-838C-0944-121D-2E4465A4C28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183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D9D520-52E6-473B-91C6-89BE223C455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856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8D9D520-52E6-473B-91C6-89BE223C4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3B8C0D89-F882-D12F-C37F-7D67FBA25D95}"/>
              </a:ext>
            </a:extLst>
          </p:cNvPr>
          <p:cNvSpPr/>
          <p:nvPr userDrawn="1"/>
        </p:nvSpPr>
        <p:spPr>
          <a:xfrm rot="231770">
            <a:off x="-183314" y="-266557"/>
            <a:ext cx="7619599" cy="6130253"/>
          </a:xfrm>
          <a:custGeom>
            <a:avLst/>
            <a:gdLst>
              <a:gd name="connsiteX0" fmla="*/ 0 w 6997793"/>
              <a:gd name="connsiteY0" fmla="*/ 472501 h 5629987"/>
              <a:gd name="connsiteX1" fmla="*/ 6997793 w 6997793"/>
              <a:gd name="connsiteY1" fmla="*/ 0 h 5629987"/>
              <a:gd name="connsiteX2" fmla="*/ 6167799 w 6997793"/>
              <a:gd name="connsiteY2" fmla="*/ 5075039 h 5629987"/>
              <a:gd name="connsiteX3" fmla="*/ 5407171 w 6997793"/>
              <a:gd name="connsiteY3" fmla="*/ 5621022 h 5629987"/>
              <a:gd name="connsiteX4" fmla="*/ 291121 w 6997793"/>
              <a:gd name="connsiteY4" fmla="*/ 4784034 h 5629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97793" h="5629987">
                <a:moveTo>
                  <a:pt x="0" y="472501"/>
                </a:moveTo>
                <a:lnTo>
                  <a:pt x="6997793" y="0"/>
                </a:lnTo>
                <a:lnTo>
                  <a:pt x="6167799" y="5075039"/>
                </a:lnTo>
                <a:cubicBezTo>
                  <a:pt x="6110492" y="5438682"/>
                  <a:pt x="5767690" y="5680415"/>
                  <a:pt x="5407171" y="5621022"/>
                </a:cubicBezTo>
                <a:lnTo>
                  <a:pt x="291121" y="478403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9E1109-DE6C-78CC-D31F-519BDF685F2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975600" y="2527301"/>
            <a:ext cx="3759200" cy="3565523"/>
          </a:xfrm>
          <a:prstGeom prst="rect">
            <a:avLst/>
          </a:prstGeom>
          <a:noFill/>
        </p:spPr>
        <p:txBody>
          <a:bodyPr lIns="0" tIns="180000" rIns="72000" bIns="72000" anchor="t" anchorCtr="0"/>
          <a:lstStyle>
            <a:lvl1pPr marL="0" indent="0">
              <a:spcBef>
                <a:spcPts val="0"/>
              </a:spcBef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Stay within the text box. Increase or decrease font size if needed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7670B3A-B635-36CE-16DD-FDCBF8928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75600" y="468637"/>
            <a:ext cx="3759200" cy="2058664"/>
          </a:xfrm>
        </p:spPr>
        <p:txBody>
          <a:bodyPr vert="horz" anchor="b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8D9EDB11-206C-D99A-457B-7AB24C5F286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" y="0"/>
            <a:ext cx="6831274" cy="6557275"/>
          </a:xfrm>
          <a:custGeom>
            <a:avLst/>
            <a:gdLst>
              <a:gd name="connsiteX0" fmla="*/ 0 w 6719301"/>
              <a:gd name="connsiteY0" fmla="*/ 0 h 6449793"/>
              <a:gd name="connsiteX1" fmla="*/ 6719301 w 6719301"/>
              <a:gd name="connsiteY1" fmla="*/ 0 h 6449793"/>
              <a:gd name="connsiteX2" fmla="*/ 5918843 w 6719301"/>
              <a:gd name="connsiteY2" fmla="*/ 4894443 h 6449793"/>
              <a:gd name="connsiteX3" fmla="*/ 5205397 w 6719301"/>
              <a:gd name="connsiteY3" fmla="*/ 5406559 h 6449793"/>
              <a:gd name="connsiteX4" fmla="*/ 1 w 6719301"/>
              <a:gd name="connsiteY4" fmla="*/ 4554954 h 6449793"/>
              <a:gd name="connsiteX5" fmla="*/ 1 w 6719301"/>
              <a:gd name="connsiteY5" fmla="*/ 6449793 h 6449793"/>
              <a:gd name="connsiteX6" fmla="*/ 0 w 6719301"/>
              <a:gd name="connsiteY6" fmla="*/ 6449793 h 6449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719301" h="6449793">
                <a:moveTo>
                  <a:pt x="0" y="0"/>
                </a:moveTo>
                <a:lnTo>
                  <a:pt x="6719301" y="0"/>
                </a:lnTo>
                <a:lnTo>
                  <a:pt x="5918843" y="4894443"/>
                </a:lnTo>
                <a:cubicBezTo>
                  <a:pt x="5865090" y="5235529"/>
                  <a:pt x="5543553" y="5462267"/>
                  <a:pt x="5205397" y="5406559"/>
                </a:cubicBezTo>
                <a:lnTo>
                  <a:pt x="1" y="4554954"/>
                </a:lnTo>
                <a:lnTo>
                  <a:pt x="1" y="6449793"/>
                </a:lnTo>
                <a:lnTo>
                  <a:pt x="0" y="644979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1440000" rIns="1440000" bIns="1260000" anchor="ctr" anchorCtr="0">
            <a:no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on the icon to add an image inside the placeholder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94886E0-836A-22F6-9FBE-C11DED15EB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48566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94886E0-836A-22F6-9FBE-C11DED15EB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39EEA34D-DD16-AB58-C381-1780C1E27DF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8C6FABF-E488-5048-A75C-A68F473FE9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F269634-E41D-79A7-8181-B5B8A590210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257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9146165-85C2-0B6B-EE16-E711D43ECF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00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9146165-85C2-0B6B-EE16-E711D43ECF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AB4D9B2-5E2D-42B5-217F-6832FCA3CDE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" y="2"/>
            <a:ext cx="6259356" cy="2492113"/>
          </a:xfrm>
          <a:custGeom>
            <a:avLst/>
            <a:gdLst>
              <a:gd name="connsiteX0" fmla="*/ 6083397 w 6259356"/>
              <a:gd name="connsiteY0" fmla="*/ 0 h 2492113"/>
              <a:gd name="connsiteX1" fmla="*/ 6251652 w 6259356"/>
              <a:gd name="connsiteY1" fmla="*/ 841021 h 2492113"/>
              <a:gd name="connsiteX2" fmla="*/ 5943693 w 6259356"/>
              <a:gd name="connsiteY2" fmla="*/ 1303017 h 2492113"/>
              <a:gd name="connsiteX3" fmla="*/ 2106825 w 6259356"/>
              <a:gd name="connsiteY3" fmla="*/ 2070622 h 2492113"/>
              <a:gd name="connsiteX4" fmla="*/ 2007803 w 6259356"/>
              <a:gd name="connsiteY4" fmla="*/ 1581395 h 2492113"/>
              <a:gd name="connsiteX5" fmla="*/ 1728107 w 6259356"/>
              <a:gd name="connsiteY5" fmla="*/ 1638007 h 2492113"/>
              <a:gd name="connsiteX6" fmla="*/ 1952729 w 6259356"/>
              <a:gd name="connsiteY6" fmla="*/ 1309298 h 2492113"/>
              <a:gd name="connsiteX7" fmla="*/ 1910158 w 6259356"/>
              <a:gd name="connsiteY7" fmla="*/ 1098973 h 2492113"/>
              <a:gd name="connsiteX8" fmla="*/ 1517537 w 6259356"/>
              <a:gd name="connsiteY8" fmla="*/ 1680627 h 2492113"/>
              <a:gd name="connsiteX9" fmla="*/ 1616336 w 6259356"/>
              <a:gd name="connsiteY9" fmla="*/ 2168749 h 2492113"/>
              <a:gd name="connsiteX10" fmla="*/ 1371553 w 6259356"/>
              <a:gd name="connsiteY10" fmla="*/ 2217720 h 2492113"/>
              <a:gd name="connsiteX11" fmla="*/ 1272403 w 6259356"/>
              <a:gd name="connsiteY11" fmla="*/ 1727864 h 2492113"/>
              <a:gd name="connsiteX12" fmla="*/ 992707 w 6259356"/>
              <a:gd name="connsiteY12" fmla="*/ 1784476 h 2492113"/>
              <a:gd name="connsiteX13" fmla="*/ 1217329 w 6259356"/>
              <a:gd name="connsiteY13" fmla="*/ 1455767 h 2492113"/>
              <a:gd name="connsiteX14" fmla="*/ 1174758 w 6259356"/>
              <a:gd name="connsiteY14" fmla="*/ 1245441 h 2492113"/>
              <a:gd name="connsiteX15" fmla="*/ 782137 w 6259356"/>
              <a:gd name="connsiteY15" fmla="*/ 1827097 h 2492113"/>
              <a:gd name="connsiteX16" fmla="*/ 881064 w 6259356"/>
              <a:gd name="connsiteY16" fmla="*/ 2315848 h 2492113"/>
              <a:gd name="connsiteX17" fmla="*/ 0 w 6259356"/>
              <a:gd name="connsiteY17" fmla="*/ 2492113 h 2492113"/>
              <a:gd name="connsiteX18" fmla="*/ 1 w 6259356"/>
              <a:gd name="connsiteY18" fmla="*/ 1 h 24921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6259356" h="2492113">
                <a:moveTo>
                  <a:pt x="6083397" y="0"/>
                </a:moveTo>
                <a:lnTo>
                  <a:pt x="6251652" y="841021"/>
                </a:lnTo>
                <a:cubicBezTo>
                  <a:pt x="6294188" y="1053638"/>
                  <a:pt x="6156310" y="1260481"/>
                  <a:pt x="5943693" y="1303017"/>
                </a:cubicBezTo>
                <a:lnTo>
                  <a:pt x="2106825" y="2070622"/>
                </a:lnTo>
                <a:lnTo>
                  <a:pt x="2007803" y="1581395"/>
                </a:lnTo>
                <a:lnTo>
                  <a:pt x="1728107" y="1638007"/>
                </a:lnTo>
                <a:cubicBezTo>
                  <a:pt x="1701698" y="1485708"/>
                  <a:pt x="1801245" y="1340034"/>
                  <a:pt x="1952729" y="1309298"/>
                </a:cubicBezTo>
                <a:lnTo>
                  <a:pt x="1910158" y="1098973"/>
                </a:lnTo>
                <a:cubicBezTo>
                  <a:pt x="1642420" y="1153130"/>
                  <a:pt x="1467638" y="1412062"/>
                  <a:pt x="1517537" y="1680627"/>
                </a:cubicBezTo>
                <a:lnTo>
                  <a:pt x="1616336" y="2168749"/>
                </a:lnTo>
                <a:lnTo>
                  <a:pt x="1371553" y="2217720"/>
                </a:lnTo>
                <a:lnTo>
                  <a:pt x="1272403" y="1727864"/>
                </a:lnTo>
                <a:lnTo>
                  <a:pt x="992707" y="1784476"/>
                </a:lnTo>
                <a:cubicBezTo>
                  <a:pt x="966298" y="1632178"/>
                  <a:pt x="1065845" y="1486504"/>
                  <a:pt x="1217329" y="1455767"/>
                </a:cubicBezTo>
                <a:lnTo>
                  <a:pt x="1174758" y="1245441"/>
                </a:lnTo>
                <a:cubicBezTo>
                  <a:pt x="907019" y="1299598"/>
                  <a:pt x="732238" y="1558531"/>
                  <a:pt x="782137" y="1827097"/>
                </a:cubicBezTo>
                <a:lnTo>
                  <a:pt x="881064" y="2315848"/>
                </a:lnTo>
                <a:lnTo>
                  <a:pt x="0" y="2492113"/>
                </a:lnTo>
                <a:lnTo>
                  <a:pt x="1" y="1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2B8548F-AFFB-9651-7775-AC40823DE63E}"/>
              </a:ext>
            </a:extLst>
          </p:cNvPr>
          <p:cNvSpPr/>
          <p:nvPr/>
        </p:nvSpPr>
        <p:spPr>
          <a:xfrm>
            <a:off x="7965943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4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4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BA1D2515-1133-702D-793C-38102D58CE1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42975" y="2492114"/>
            <a:ext cx="7032625" cy="2453274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3200"/>
            </a:lvl1pPr>
          </a:lstStyle>
          <a:p>
            <a:pPr lvl="0"/>
            <a:r>
              <a:rPr lang="en-US"/>
              <a:t>Add quotation here. Increase or decrease font size as needed. The fill color of the graphic on the left hand corner can be changed if needed.</a:t>
            </a:r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CF81C14C-13B3-02BC-C609-390D5E1841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8688" y="5080000"/>
            <a:ext cx="7046912" cy="904875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name &amp; job title here, or any other additional information. Stay within the text box. Keep text shor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5174CD-0298-F14B-1AF5-E136A49B5D5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A6CBD8D-625D-CA16-E18D-C630A4DF554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0CC281EC-11DB-6813-8205-A6039FE80A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D01A6DB5-BE7D-E9F1-094E-9B876F7F7D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82886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3AF2A11-3780-A445-AD7C-AB4174248E16}"/>
              </a:ext>
            </a:extLst>
          </p:cNvPr>
          <p:cNvSpPr/>
          <p:nvPr userDrawn="1"/>
        </p:nvSpPr>
        <p:spPr>
          <a:xfrm>
            <a:off x="0" y="0"/>
            <a:ext cx="57066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24F0EF8-DFEF-0DF3-BD7B-3B8B9760DECC}"/>
              </a:ext>
            </a:extLst>
          </p:cNvPr>
          <p:cNvSpPr/>
          <p:nvPr userDrawn="1"/>
        </p:nvSpPr>
        <p:spPr>
          <a:xfrm flipH="1">
            <a:off x="0" y="4163340"/>
            <a:ext cx="4226058" cy="2694660"/>
          </a:xfrm>
          <a:custGeom>
            <a:avLst/>
            <a:gdLst>
              <a:gd name="connsiteX0" fmla="*/ 1796222 w 4226058"/>
              <a:gd name="connsiteY0" fmla="*/ 1004 h 2694660"/>
              <a:gd name="connsiteX1" fmla="*/ 2050718 w 4226058"/>
              <a:gd name="connsiteY1" fmla="*/ 60788 h 2694660"/>
              <a:gd name="connsiteX2" fmla="*/ 4226058 w 4226058"/>
              <a:gd name="connsiteY2" fmla="*/ 1327146 h 2694660"/>
              <a:gd name="connsiteX3" fmla="*/ 4226058 w 4226058"/>
              <a:gd name="connsiteY3" fmla="*/ 2694660 h 2694660"/>
              <a:gd name="connsiteX4" fmla="*/ 0 w 4226058"/>
              <a:gd name="connsiteY4" fmla="*/ 2694660 h 2694660"/>
              <a:gd name="connsiteX5" fmla="*/ 1439280 w 4226058"/>
              <a:gd name="connsiteY5" fmla="*/ 222275 h 2694660"/>
              <a:gd name="connsiteX6" fmla="*/ 1796222 w 4226058"/>
              <a:gd name="connsiteY6" fmla="*/ 1004 h 269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226058" h="269466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9FA10D-3843-8642-175B-E785843134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039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39FA10D-3843-8642-175B-E785843134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4EC79D-6F5C-1B6A-061F-AD130559073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1659" y="2668661"/>
            <a:ext cx="4870269" cy="3424163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itle 33">
            <a:extLst>
              <a:ext uri="{FF2B5EF4-FFF2-40B4-BE49-F238E27FC236}">
                <a16:creationId xmlns:a16="http://schemas.microsoft.com/office/drawing/2014/main" id="{8F40D756-D0CB-F85C-6BC6-DB5804486E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67125"/>
            <a:ext cx="4894728" cy="106177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355E53-AA10-AB27-6C8B-F74C4B3739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28182" y="1217899"/>
            <a:ext cx="5706618" cy="4874925"/>
          </a:xfrm>
          <a:prstGeom prst="rect">
            <a:avLst/>
          </a:prstGeom>
          <a:solidFill>
            <a:schemeClr val="bg1"/>
          </a:solidFill>
        </p:spPr>
        <p:txBody>
          <a:bodyPr lIns="72000" bIns="1620000" anchor="ctr" anchorCtr="0"/>
          <a:lstStyle>
            <a:lvl1pPr marL="0" indent="0" algn="ctr" rtl="0">
              <a:buNone/>
              <a:defRPr sz="16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bg1"/>
                </a:solidFill>
              </a:defRPr>
            </a:lvl2pPr>
            <a:lvl3pPr marL="914400" indent="0"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None/>
              <a:defRPr sz="1400">
                <a:solidFill>
                  <a:schemeClr val="bg1"/>
                </a:solidFill>
              </a:defRPr>
            </a:lvl4pPr>
            <a:lvl5pPr marL="1828800" indent="0">
              <a:buNone/>
              <a:defRPr sz="1400">
                <a:solidFill>
                  <a:schemeClr val="bg1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on the relevant icon to add content</a:t>
            </a:r>
            <a:br>
              <a:rPr lang="en-US"/>
            </a:br>
            <a:r>
              <a:rPr lang="en-US"/>
              <a:t>(table, live data, smart art, etc)</a:t>
            </a:r>
          </a:p>
        </p:txBody>
      </p:sp>
      <p:sp>
        <p:nvSpPr>
          <p:cNvPr id="40" name="Text Placeholder 18">
            <a:extLst>
              <a:ext uri="{FF2B5EF4-FFF2-40B4-BE49-F238E27FC236}">
                <a16:creationId xmlns:a16="http://schemas.microsoft.com/office/drawing/2014/main" id="{594A8751-DA97-7198-CEFC-A9D6796788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32964"/>
            <a:ext cx="4894728" cy="935411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Add key highlight here. Stay within text box. Keep text short.</a:t>
            </a:r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EE65609-FC4A-DC7D-A501-BB8FB6F8CC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303919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EE65609-FC4A-DC7D-A501-BB8FB6F8CC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CD2FE6A-5B35-E298-04D2-CC034930F24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F7532A6-E844-5AAC-ECE5-FF7CCCBCA32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CF6032D2-3177-9DD0-10E3-28D562D579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25906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501A85D9-BE8D-965F-EF30-A14258341197}"/>
              </a:ext>
            </a:extLst>
          </p:cNvPr>
          <p:cNvSpPr/>
          <p:nvPr/>
        </p:nvSpPr>
        <p:spPr>
          <a:xfrm>
            <a:off x="979581" y="2048934"/>
            <a:ext cx="10755218" cy="4043891"/>
          </a:xfrm>
          <a:prstGeom prst="roundRect">
            <a:avLst>
              <a:gd name="adj" fmla="val 7874"/>
            </a:avLst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12B55C-351E-D40B-84EF-90910693625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51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12B55C-351E-D40B-84EF-9091069362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80E3D8D-4CD3-D35E-3682-0D17A5544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D8000-A26D-4727-9736-C8E2FF5EE4DF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85811FEF-DC3D-8759-E832-E0DC341F0FF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470400" y="3429000"/>
            <a:ext cx="7010400" cy="2336800"/>
          </a:xfrm>
          <a:prstGeom prst="rect">
            <a:avLst/>
          </a:prstGeom>
          <a:noFill/>
        </p:spPr>
        <p:txBody>
          <a:bodyPr anchor="ctr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AEF92DC-14E0-5DC2-7BD4-7A178EC54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70400" y="2343150"/>
            <a:ext cx="7010400" cy="108585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ext box.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6BCDE84-7FE7-5230-64F0-8446DE7E712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1" y="1196977"/>
            <a:ext cx="3759200" cy="3935941"/>
          </a:xfrm>
          <a:custGeom>
            <a:avLst/>
            <a:gdLst>
              <a:gd name="connsiteX0" fmla="*/ 386746 w 3759200"/>
              <a:gd name="connsiteY0" fmla="*/ 0 h 3935941"/>
              <a:gd name="connsiteX1" fmla="*/ 3372454 w 3759200"/>
              <a:gd name="connsiteY1" fmla="*/ 0 h 3935941"/>
              <a:gd name="connsiteX2" fmla="*/ 3759200 w 3759200"/>
              <a:gd name="connsiteY2" fmla="*/ 386746 h 3935941"/>
              <a:gd name="connsiteX3" fmla="*/ 3759200 w 3759200"/>
              <a:gd name="connsiteY3" fmla="*/ 3549195 h 3935941"/>
              <a:gd name="connsiteX4" fmla="*/ 3372454 w 3759200"/>
              <a:gd name="connsiteY4" fmla="*/ 3935941 h 3935941"/>
              <a:gd name="connsiteX5" fmla="*/ 386746 w 3759200"/>
              <a:gd name="connsiteY5" fmla="*/ 3935941 h 3935941"/>
              <a:gd name="connsiteX6" fmla="*/ 0 w 3759200"/>
              <a:gd name="connsiteY6" fmla="*/ 3549195 h 3935941"/>
              <a:gd name="connsiteX7" fmla="*/ 0 w 3759200"/>
              <a:gd name="connsiteY7" fmla="*/ 386746 h 3935941"/>
              <a:gd name="connsiteX8" fmla="*/ 386746 w 3759200"/>
              <a:gd name="connsiteY8" fmla="*/ 0 h 3935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759200" h="3935941">
                <a:moveTo>
                  <a:pt x="386746" y="0"/>
                </a:moveTo>
                <a:lnTo>
                  <a:pt x="3372454" y="0"/>
                </a:lnTo>
                <a:cubicBezTo>
                  <a:pt x="3586048" y="0"/>
                  <a:pt x="3759200" y="173152"/>
                  <a:pt x="3759200" y="386746"/>
                </a:cubicBezTo>
                <a:lnTo>
                  <a:pt x="3759200" y="3549195"/>
                </a:lnTo>
                <a:cubicBezTo>
                  <a:pt x="3759200" y="3762789"/>
                  <a:pt x="3586048" y="3935941"/>
                  <a:pt x="3372454" y="3935941"/>
                </a:cubicBezTo>
                <a:lnTo>
                  <a:pt x="386746" y="3935941"/>
                </a:lnTo>
                <a:cubicBezTo>
                  <a:pt x="173152" y="3935941"/>
                  <a:pt x="0" y="3762789"/>
                  <a:pt x="0" y="3549195"/>
                </a:cubicBezTo>
                <a:lnTo>
                  <a:pt x="0" y="386746"/>
                </a:lnTo>
                <a:cubicBezTo>
                  <a:pt x="0" y="173152"/>
                  <a:pt x="173152" y="0"/>
                  <a:pt x="38674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80000" tIns="720000" rIns="180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on the icon to add an image inside the placeholder.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D115845-2923-306D-97D6-4EF0BC50DC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475197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D115845-2923-306D-97D6-4EF0BC50DC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912970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>
            <a:extLst>
              <a:ext uri="{FF2B5EF4-FFF2-40B4-BE49-F238E27FC236}">
                <a16:creationId xmlns:a16="http://schemas.microsoft.com/office/drawing/2014/main" id="{2D65ACFC-72B6-93DC-F108-5479204054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0560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23" name="Object 22" hidden="1">
                        <a:extLst>
                          <a:ext uri="{FF2B5EF4-FFF2-40B4-BE49-F238E27FC236}">
                            <a16:creationId xmlns:a16="http://schemas.microsoft.com/office/drawing/2014/main" id="{2D65ACFC-72B6-93DC-F108-547920405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8FB71BC-5AAE-13B2-2700-404426A7EF0F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590812" y="0"/>
            <a:ext cx="6601188" cy="4126619"/>
          </a:xfrm>
          <a:custGeom>
            <a:avLst/>
            <a:gdLst>
              <a:gd name="connsiteX0" fmla="*/ 477465 w 6601188"/>
              <a:gd name="connsiteY0" fmla="*/ 0 h 4126619"/>
              <a:gd name="connsiteX1" fmla="*/ 6601188 w 6601188"/>
              <a:gd name="connsiteY1" fmla="*/ 0 h 4126619"/>
              <a:gd name="connsiteX2" fmla="*/ 6601188 w 6601188"/>
              <a:gd name="connsiteY2" fmla="*/ 4126619 h 4126619"/>
              <a:gd name="connsiteX3" fmla="*/ 449723 w 6601188"/>
              <a:gd name="connsiteY3" fmla="*/ 2729174 h 4126619"/>
              <a:gd name="connsiteX4" fmla="*/ 14476 w 6601188"/>
              <a:gd name="connsiteY4" fmla="*/ 2038045 h 4126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01188" h="4126619">
                <a:moveTo>
                  <a:pt x="477465" y="0"/>
                </a:moveTo>
                <a:lnTo>
                  <a:pt x="6601188" y="0"/>
                </a:lnTo>
                <a:lnTo>
                  <a:pt x="6601188" y="4126619"/>
                </a:lnTo>
                <a:lnTo>
                  <a:pt x="449723" y="2729174"/>
                </a:lnTo>
                <a:cubicBezTo>
                  <a:pt x="138683" y="2658514"/>
                  <a:pt x="-56184" y="2349085"/>
                  <a:pt x="14476" y="203804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440000" anchor="ctr">
            <a:noAutofit/>
          </a:bodyPr>
          <a:lstStyle>
            <a:lvl1pPr marL="0" indent="0" algn="ctr"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9E0B7B9-CF36-AE90-DAEB-BB64374DC6DC}"/>
              </a:ext>
            </a:extLst>
          </p:cNvPr>
          <p:cNvSpPr/>
          <p:nvPr userDrawn="1"/>
        </p:nvSpPr>
        <p:spPr>
          <a:xfrm rot="797122">
            <a:off x="5933280" y="3734926"/>
            <a:ext cx="6445630" cy="3919944"/>
          </a:xfrm>
          <a:custGeom>
            <a:avLst/>
            <a:gdLst>
              <a:gd name="connsiteX0" fmla="*/ 425527 w 6445630"/>
              <a:gd name="connsiteY0" fmla="*/ 10827 h 3919944"/>
              <a:gd name="connsiteX1" fmla="*/ 532932 w 6445630"/>
              <a:gd name="connsiteY1" fmla="*/ 0 h 3919944"/>
              <a:gd name="connsiteX2" fmla="*/ 5879413 w 6445630"/>
              <a:gd name="connsiteY2" fmla="*/ 0 h 3919944"/>
              <a:gd name="connsiteX3" fmla="*/ 6445630 w 6445630"/>
              <a:gd name="connsiteY3" fmla="*/ 2398000 h 3919944"/>
              <a:gd name="connsiteX4" fmla="*/ 0 w 6445630"/>
              <a:gd name="connsiteY4" fmla="*/ 3919944 h 3919944"/>
              <a:gd name="connsiteX5" fmla="*/ 1 w 6445630"/>
              <a:gd name="connsiteY5" fmla="*/ 532931 h 3919944"/>
              <a:gd name="connsiteX6" fmla="*/ 425527 w 6445630"/>
              <a:gd name="connsiteY6" fmla="*/ 10827 h 3919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45630" h="3919944">
                <a:moveTo>
                  <a:pt x="425527" y="10827"/>
                </a:moveTo>
                <a:cubicBezTo>
                  <a:pt x="460220" y="3728"/>
                  <a:pt x="496140" y="0"/>
                  <a:pt x="532932" y="0"/>
                </a:cubicBezTo>
                <a:lnTo>
                  <a:pt x="5879413" y="0"/>
                </a:lnTo>
                <a:lnTo>
                  <a:pt x="6445630" y="2398000"/>
                </a:lnTo>
                <a:lnTo>
                  <a:pt x="0" y="3919944"/>
                </a:lnTo>
                <a:lnTo>
                  <a:pt x="1" y="532931"/>
                </a:lnTo>
                <a:cubicBezTo>
                  <a:pt x="0" y="275392"/>
                  <a:pt x="182679" y="60521"/>
                  <a:pt x="425527" y="1082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356C22AB-3B43-6EFD-0FDF-DB1D485FF5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0" y="1742403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35" name="Text Placeholder 5">
            <a:extLst>
              <a:ext uri="{FF2B5EF4-FFF2-40B4-BE49-F238E27FC236}">
                <a16:creationId xmlns:a16="http://schemas.microsoft.com/office/drawing/2014/main" id="{0AC1B8AF-5177-2FEA-3EE6-4C6CCDEA63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3175248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4F03A9F8-67FD-3EA1-9A3A-516D4BA364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7200" y="4608093"/>
            <a:ext cx="4925028" cy="1146175"/>
          </a:xfrm>
          <a:solidFill>
            <a:schemeClr val="bg1"/>
          </a:solidFill>
          <a:effectLst/>
        </p:spPr>
        <p:txBody>
          <a:bodyPr lIns="0" rIns="72000" anchor="ctr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2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Text here. Press the Reset button to reset formatting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23FE043-0EA6-DF86-294A-582B0DDA25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634874" y="5189571"/>
            <a:ext cx="5099925" cy="903253"/>
          </a:xfrm>
          <a:prstGeom prst="rect">
            <a:avLst/>
          </a:prstGeom>
          <a:noFill/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rgbClr val="EBF5FA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text here. Use bolded text and color to highlight key information.</a:t>
            </a:r>
          </a:p>
        </p:txBody>
      </p:sp>
      <p:sp>
        <p:nvSpPr>
          <p:cNvPr id="26" name="Text Placeholder 18">
            <a:extLst>
              <a:ext uri="{FF2B5EF4-FFF2-40B4-BE49-F238E27FC236}">
                <a16:creationId xmlns:a16="http://schemas.microsoft.com/office/drawing/2014/main" id="{ADEEED13-866C-CC97-1F97-2966553751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34874" y="4321422"/>
            <a:ext cx="5099925" cy="87033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ext highlight here. Keep text short and stay within text box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C1431A-3138-4938-82DF-5814064CD5D0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3" name="Title 32">
            <a:extLst>
              <a:ext uri="{FF2B5EF4-FFF2-40B4-BE49-F238E27FC236}">
                <a16:creationId xmlns:a16="http://schemas.microsoft.com/office/drawing/2014/main" id="{3F9EBE14-C9D1-3F8F-DA67-C2AA0BB8D0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6585"/>
            <a:ext cx="4925028" cy="112598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675FD96A-137F-AB9B-EBB3-D78B3976A1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65372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780DF6FD-8F9F-0E50-6F87-6F3AC0D819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1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780DF6FD-8F9F-0E50-6F87-6F3AC0D819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FCE53F-0D55-4C97-8D37-B5A18BE5B11A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117DEB3-E5ED-B0BD-7F6D-3A157D663A81}"/>
              </a:ext>
            </a:extLst>
          </p:cNvPr>
          <p:cNvSpPr/>
          <p:nvPr userDrawn="1"/>
        </p:nvSpPr>
        <p:spPr>
          <a:xfrm>
            <a:off x="6186487" y="1196975"/>
            <a:ext cx="5548312" cy="489585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77F12E80-72C9-320E-8FF9-F9C189F564CB}"/>
              </a:ext>
            </a:extLst>
          </p:cNvPr>
          <p:cNvSpPr>
            <a:spLocks/>
          </p:cNvSpPr>
          <p:nvPr userDrawn="1"/>
        </p:nvSpPr>
        <p:spPr>
          <a:xfrm>
            <a:off x="6369343" y="1196975"/>
            <a:ext cx="5365457" cy="1540093"/>
          </a:xfrm>
          <a:custGeom>
            <a:avLst/>
            <a:gdLst>
              <a:gd name="connsiteX0" fmla="*/ 0 w 5365457"/>
              <a:gd name="connsiteY0" fmla="*/ 0 h 1540093"/>
              <a:gd name="connsiteX1" fmla="*/ 5365457 w 5365457"/>
              <a:gd name="connsiteY1" fmla="*/ 0 h 1540093"/>
              <a:gd name="connsiteX2" fmla="*/ 5365457 w 5365457"/>
              <a:gd name="connsiteY2" fmla="*/ 886855 h 1540093"/>
              <a:gd name="connsiteX3" fmla="*/ 833003 w 5365457"/>
              <a:gd name="connsiteY3" fmla="*/ 1533735 h 1540093"/>
              <a:gd name="connsiteX4" fmla="*/ 214780 w 5365457"/>
              <a:gd name="connsiteY4" fmla="*/ 1146467 h 15400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65457" h="1540093">
                <a:moveTo>
                  <a:pt x="0" y="0"/>
                </a:moveTo>
                <a:lnTo>
                  <a:pt x="5365457" y="0"/>
                </a:lnTo>
                <a:lnTo>
                  <a:pt x="5365457" y="886855"/>
                </a:lnTo>
                <a:lnTo>
                  <a:pt x="833003" y="1533735"/>
                </a:lnTo>
                <a:cubicBezTo>
                  <a:pt x="539982" y="1575859"/>
                  <a:pt x="261359" y="1404398"/>
                  <a:pt x="214780" y="114646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22817933-770E-54E9-D0CD-0FD064F6F6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3221" y="1318261"/>
            <a:ext cx="4769166" cy="769620"/>
          </a:xfrm>
        </p:spPr>
        <p:txBody>
          <a:bodyPr lIns="72000" anchor="ctr" anchorCtr="0"/>
          <a:lstStyle>
            <a:lvl1pPr marL="0" indent="0" algn="l" rtl="0">
              <a:spcBef>
                <a:spcPts val="0"/>
              </a:spcBef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591BFC67-875E-A5F2-C6C9-4E8A7B7639B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539696" y="2870521"/>
            <a:ext cx="4893704" cy="2920679"/>
          </a:xfrm>
          <a:prstGeom prst="rect">
            <a:avLst/>
          </a:prstGeom>
          <a:noFill/>
        </p:spPr>
        <p:txBody>
          <a:bodyPr anchor="ctr"/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DA7ADF7C-812A-6B07-F8C8-00BC8F725E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199" y="1196975"/>
            <a:ext cx="5548316" cy="4895850"/>
          </a:xfrm>
          <a:custGeom>
            <a:avLst/>
            <a:gdLst>
              <a:gd name="connsiteX0" fmla="*/ 318132 w 5548316"/>
              <a:gd name="connsiteY0" fmla="*/ 0 h 4895850"/>
              <a:gd name="connsiteX1" fmla="*/ 404930 w 5548316"/>
              <a:gd name="connsiteY1" fmla="*/ 0 h 4895850"/>
              <a:gd name="connsiteX2" fmla="*/ 5143390 w 5548316"/>
              <a:gd name="connsiteY2" fmla="*/ 0 h 4895850"/>
              <a:gd name="connsiteX3" fmla="*/ 5230180 w 5548316"/>
              <a:gd name="connsiteY3" fmla="*/ 0 h 4895850"/>
              <a:gd name="connsiteX4" fmla="*/ 5548312 w 5548316"/>
              <a:gd name="connsiteY4" fmla="*/ 318132 h 4895850"/>
              <a:gd name="connsiteX5" fmla="*/ 5548312 w 5548316"/>
              <a:gd name="connsiteY5" fmla="*/ 860559 h 4895850"/>
              <a:gd name="connsiteX6" fmla="*/ 5548316 w 5548316"/>
              <a:gd name="connsiteY6" fmla="*/ 860643 h 4895850"/>
              <a:gd name="connsiteX7" fmla="*/ 5548316 w 5548316"/>
              <a:gd name="connsiteY7" fmla="*/ 4035208 h 4895850"/>
              <a:gd name="connsiteX8" fmla="*/ 5548312 w 5548316"/>
              <a:gd name="connsiteY8" fmla="*/ 4035292 h 4895850"/>
              <a:gd name="connsiteX9" fmla="*/ 5548312 w 5548316"/>
              <a:gd name="connsiteY9" fmla="*/ 4577718 h 4895850"/>
              <a:gd name="connsiteX10" fmla="*/ 5230180 w 5548316"/>
              <a:gd name="connsiteY10" fmla="*/ 4895850 h 4895850"/>
              <a:gd name="connsiteX11" fmla="*/ 5143390 w 5548316"/>
              <a:gd name="connsiteY11" fmla="*/ 4895850 h 4895850"/>
              <a:gd name="connsiteX12" fmla="*/ 404930 w 5548316"/>
              <a:gd name="connsiteY12" fmla="*/ 4895850 h 4895850"/>
              <a:gd name="connsiteX13" fmla="*/ 318132 w 5548316"/>
              <a:gd name="connsiteY13" fmla="*/ 4895850 h 4895850"/>
              <a:gd name="connsiteX14" fmla="*/ 0 w 5548316"/>
              <a:gd name="connsiteY14" fmla="*/ 4577718 h 4895850"/>
              <a:gd name="connsiteX15" fmla="*/ 0 w 5548316"/>
              <a:gd name="connsiteY15" fmla="*/ 318132 h 4895850"/>
              <a:gd name="connsiteX16" fmla="*/ 318132 w 5548316"/>
              <a:gd name="connsiteY16" fmla="*/ 0 h 489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548316" h="4895850">
                <a:moveTo>
                  <a:pt x="318132" y="0"/>
                </a:moveTo>
                <a:lnTo>
                  <a:pt x="404930" y="0"/>
                </a:lnTo>
                <a:lnTo>
                  <a:pt x="5143390" y="0"/>
                </a:lnTo>
                <a:lnTo>
                  <a:pt x="5230180" y="0"/>
                </a:lnTo>
                <a:cubicBezTo>
                  <a:pt x="5405879" y="0"/>
                  <a:pt x="5548312" y="142433"/>
                  <a:pt x="5548312" y="318132"/>
                </a:cubicBezTo>
                <a:lnTo>
                  <a:pt x="5548312" y="860559"/>
                </a:lnTo>
                <a:lnTo>
                  <a:pt x="5548316" y="860643"/>
                </a:lnTo>
                <a:lnTo>
                  <a:pt x="5548316" y="4035208"/>
                </a:lnTo>
                <a:lnTo>
                  <a:pt x="5548312" y="4035292"/>
                </a:lnTo>
                <a:lnTo>
                  <a:pt x="5548312" y="4577718"/>
                </a:lnTo>
                <a:cubicBezTo>
                  <a:pt x="5548312" y="4753417"/>
                  <a:pt x="5405879" y="4895850"/>
                  <a:pt x="5230180" y="4895850"/>
                </a:cubicBezTo>
                <a:lnTo>
                  <a:pt x="5143390" y="4895850"/>
                </a:lnTo>
                <a:lnTo>
                  <a:pt x="404930" y="4895850"/>
                </a:lnTo>
                <a:lnTo>
                  <a:pt x="318132" y="4895850"/>
                </a:lnTo>
                <a:cubicBezTo>
                  <a:pt x="142433" y="4895850"/>
                  <a:pt x="0" y="4753417"/>
                  <a:pt x="0" y="4577718"/>
                </a:cubicBezTo>
                <a:lnTo>
                  <a:pt x="0" y="318132"/>
                </a:lnTo>
                <a:cubicBezTo>
                  <a:pt x="0" y="142433"/>
                  <a:pt x="142433" y="0"/>
                  <a:pt x="318132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vert="horz" wrap="square" lIns="180000" tIns="1080000" rIns="180000" bIns="72000" rtlCol="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32C5353-E580-7872-5BE5-0A78743E20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0113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32C5353-E580-7872-5BE5-0A78743E20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3594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72E055F-EF83-A6FD-82BE-2FA9B0A8C6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961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72E055F-EF83-A6FD-82BE-2FA9B0A8C6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CC84D14D-E971-AA0D-5624-5BE503755299}"/>
              </a:ext>
            </a:extLst>
          </p:cNvPr>
          <p:cNvSpPr/>
          <p:nvPr/>
        </p:nvSpPr>
        <p:spPr>
          <a:xfrm>
            <a:off x="4261646" y="2349499"/>
            <a:ext cx="3668708" cy="3743326"/>
          </a:xfrm>
          <a:prstGeom prst="roundRect">
            <a:avLst>
              <a:gd name="adj" fmla="val 11619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701B70F-1298-7266-B028-5010CAFB6C05}"/>
              </a:ext>
            </a:extLst>
          </p:cNvPr>
          <p:cNvSpPr/>
          <p:nvPr/>
        </p:nvSpPr>
        <p:spPr>
          <a:xfrm>
            <a:off x="8066092" y="2349499"/>
            <a:ext cx="3668708" cy="3743326"/>
          </a:xfrm>
          <a:prstGeom prst="roundRect">
            <a:avLst>
              <a:gd name="adj" fmla="val 12881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0A67187-1E8A-FB5B-C3F8-AEE362083108}"/>
              </a:ext>
            </a:extLst>
          </p:cNvPr>
          <p:cNvSpPr/>
          <p:nvPr userDrawn="1"/>
        </p:nvSpPr>
        <p:spPr>
          <a:xfrm>
            <a:off x="457200" y="2349499"/>
            <a:ext cx="3668708" cy="3743326"/>
          </a:xfrm>
          <a:prstGeom prst="roundRect">
            <a:avLst>
              <a:gd name="adj" fmla="val 11619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80E3D8D-4CD3-D35E-3682-0D17A5544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76C128-FDEE-E8BE-A033-1547B3651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B63F2D-B2D0-498E-8344-4CCC2C98A076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6C02DD-C22B-8CB0-9491-72E2072E4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438FA3-4E88-6AB9-DCEA-16DA60BD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1B3C1A6A-BC28-982D-B0D3-96FB5274FEC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758958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BE2D3251-D80F-991F-EFE9-680F4847E3C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1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28" name="Picture Placeholder 27">
            <a:extLst>
              <a:ext uri="{FF2B5EF4-FFF2-40B4-BE49-F238E27FC236}">
                <a16:creationId xmlns:a16="http://schemas.microsoft.com/office/drawing/2014/main" id="{B106B567-8B96-ADC4-FA33-E2F7F2A7196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954513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4" name="Text Placeholder 18">
            <a:extLst>
              <a:ext uri="{FF2B5EF4-FFF2-40B4-BE49-F238E27FC236}">
                <a16:creationId xmlns:a16="http://schemas.microsoft.com/office/drawing/2014/main" id="{23DF8FA6-8961-20A7-5B05-4C401DD5BC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1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A1D162AC-C87B-D6F5-E02C-FB9CF32095C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150067" y="1208012"/>
            <a:ext cx="2282974" cy="2282974"/>
          </a:xfrm>
          <a:custGeom>
            <a:avLst/>
            <a:gdLst>
              <a:gd name="connsiteX0" fmla="*/ 366286 w 2075978"/>
              <a:gd name="connsiteY0" fmla="*/ 0 h 2075977"/>
              <a:gd name="connsiteX1" fmla="*/ 1709693 w 2075978"/>
              <a:gd name="connsiteY1" fmla="*/ 0 h 2075977"/>
              <a:gd name="connsiteX2" fmla="*/ 2075978 w 2075978"/>
              <a:gd name="connsiteY2" fmla="*/ 366285 h 2075977"/>
              <a:gd name="connsiteX3" fmla="*/ 2075978 w 2075978"/>
              <a:gd name="connsiteY3" fmla="*/ 1709692 h 2075977"/>
              <a:gd name="connsiteX4" fmla="*/ 1709693 w 2075978"/>
              <a:gd name="connsiteY4" fmla="*/ 2075977 h 2075977"/>
              <a:gd name="connsiteX5" fmla="*/ 366286 w 2075978"/>
              <a:gd name="connsiteY5" fmla="*/ 2075977 h 2075977"/>
              <a:gd name="connsiteX6" fmla="*/ 0 w 2075978"/>
              <a:gd name="connsiteY6" fmla="*/ 1709692 h 2075977"/>
              <a:gd name="connsiteX7" fmla="*/ 0 w 2075978"/>
              <a:gd name="connsiteY7" fmla="*/ 366285 h 2075977"/>
              <a:gd name="connsiteX8" fmla="*/ 366286 w 2075978"/>
              <a:gd name="connsiteY8" fmla="*/ 0 h 2075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75978" h="2075977">
                <a:moveTo>
                  <a:pt x="366286" y="0"/>
                </a:moveTo>
                <a:lnTo>
                  <a:pt x="1709693" y="0"/>
                </a:lnTo>
                <a:cubicBezTo>
                  <a:pt x="1911987" y="0"/>
                  <a:pt x="2075978" y="163991"/>
                  <a:pt x="2075978" y="366285"/>
                </a:cubicBezTo>
                <a:lnTo>
                  <a:pt x="2075978" y="1709692"/>
                </a:lnTo>
                <a:cubicBezTo>
                  <a:pt x="2075978" y="1911986"/>
                  <a:pt x="1911987" y="2075977"/>
                  <a:pt x="1709693" y="2075977"/>
                </a:cubicBezTo>
                <a:lnTo>
                  <a:pt x="366286" y="2075977"/>
                </a:lnTo>
                <a:cubicBezTo>
                  <a:pt x="163991" y="2075977"/>
                  <a:pt x="0" y="1911986"/>
                  <a:pt x="0" y="1709692"/>
                </a:cubicBezTo>
                <a:lnTo>
                  <a:pt x="0" y="366285"/>
                </a:lnTo>
                <a:cubicBezTo>
                  <a:pt x="0" y="163991"/>
                  <a:pt x="163991" y="0"/>
                  <a:pt x="366286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lIns="108000" tIns="144000" rIns="108000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028A39DB-F1D6-A9B7-3CB3-3850A2941157}"/>
              </a:ext>
            </a:extLst>
          </p:cNvPr>
          <p:cNvSpPr>
            <a:spLocks noGrp="1"/>
          </p:cNvSpPr>
          <p:nvPr>
            <p:ph type="body" sz="half" idx="20" hasCustomPrompt="1"/>
          </p:nvPr>
        </p:nvSpPr>
        <p:spPr>
          <a:xfrm>
            <a:off x="4261645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46" name="Text Placeholder 18">
            <a:extLst>
              <a:ext uri="{FF2B5EF4-FFF2-40B4-BE49-F238E27FC236}">
                <a16:creationId xmlns:a16="http://schemas.microsoft.com/office/drawing/2014/main" id="{37BB1E9C-5F20-F3BF-527E-58ADBCFC62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61645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12030D6-BDE0-200F-AA00-2FAC0023229B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066094" y="4425476"/>
            <a:ext cx="3668706" cy="1559398"/>
          </a:xfrm>
          <a:prstGeom prst="rect">
            <a:avLst/>
          </a:prstGeom>
          <a:noFill/>
        </p:spPr>
        <p:txBody>
          <a:bodyPr lIns="108000" tIns="180000" rIns="108000" anchor="t"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</a:t>
            </a:r>
          </a:p>
        </p:txBody>
      </p:sp>
      <p:sp>
        <p:nvSpPr>
          <p:cNvPr id="48" name="Text Placeholder 18">
            <a:extLst>
              <a:ext uri="{FF2B5EF4-FFF2-40B4-BE49-F238E27FC236}">
                <a16:creationId xmlns:a16="http://schemas.microsoft.com/office/drawing/2014/main" id="{D054DC0E-5E39-9D87-7E5F-E276AD03DF8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066094" y="3562350"/>
            <a:ext cx="3668706" cy="826991"/>
          </a:xfrm>
        </p:spPr>
        <p:txBody>
          <a:bodyPr lIns="108000" tIns="36000" rIns="108000" bIns="72000" anchor="b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box.</a:t>
            </a:r>
          </a:p>
        </p:txBody>
      </p:sp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66561831-7640-8066-6C24-4B994BEA8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129612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66561831-7640-8066-6C24-4B994BEA8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04937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&amp; Text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E389992-2A65-06B3-92CF-0CD1CC8B3D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58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E389992-2A65-06B3-92CF-0CD1CC8B3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C31887D-14D6-D267-55DF-432D3D7D4514}"/>
              </a:ext>
            </a:extLst>
          </p:cNvPr>
          <p:cNvSpPr/>
          <p:nvPr userDrawn="1"/>
        </p:nvSpPr>
        <p:spPr>
          <a:xfrm>
            <a:off x="1" y="1204101"/>
            <a:ext cx="7666433" cy="5653901"/>
          </a:xfrm>
          <a:custGeom>
            <a:avLst/>
            <a:gdLst>
              <a:gd name="connsiteX0" fmla="*/ 6161940 w 7666433"/>
              <a:gd name="connsiteY0" fmla="*/ 2 h 5653901"/>
              <a:gd name="connsiteX1" fmla="*/ 6559159 w 7666433"/>
              <a:gd name="connsiteY1" fmla="*/ 322651 h 5653901"/>
              <a:gd name="connsiteX2" fmla="*/ 7666433 w 7666433"/>
              <a:gd name="connsiteY2" fmla="*/ 5653900 h 5653901"/>
              <a:gd name="connsiteX3" fmla="*/ 0 w 7666433"/>
              <a:gd name="connsiteY3" fmla="*/ 5653901 h 5653901"/>
              <a:gd name="connsiteX4" fmla="*/ 0 w 7666433"/>
              <a:gd name="connsiteY4" fmla="*/ 1271403 h 5653901"/>
              <a:gd name="connsiteX5" fmla="*/ 6080368 w 7666433"/>
              <a:gd name="connsiteY5" fmla="*/ 8541 h 5653901"/>
              <a:gd name="connsiteX6" fmla="*/ 6161940 w 7666433"/>
              <a:gd name="connsiteY6" fmla="*/ 2 h 5653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666433" h="5653901">
                <a:moveTo>
                  <a:pt x="6161940" y="2"/>
                </a:moveTo>
                <a:cubicBezTo>
                  <a:pt x="6350274" y="-553"/>
                  <a:pt x="6519368" y="131066"/>
                  <a:pt x="6559159" y="322651"/>
                </a:cubicBezTo>
                <a:lnTo>
                  <a:pt x="7666433" y="5653900"/>
                </a:lnTo>
                <a:lnTo>
                  <a:pt x="0" y="5653901"/>
                </a:lnTo>
                <a:lnTo>
                  <a:pt x="0" y="1271403"/>
                </a:lnTo>
                <a:lnTo>
                  <a:pt x="6080368" y="8541"/>
                </a:lnTo>
                <a:cubicBezTo>
                  <a:pt x="6107737" y="2857"/>
                  <a:pt x="6135035" y="81"/>
                  <a:pt x="6161940" y="2"/>
                </a:cubicBezTo>
                <a:close/>
              </a:path>
            </a:pathLst>
          </a:custGeom>
          <a:solidFill>
            <a:srgbClr val="EBF5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32E1B02-2CEA-55EA-F8ED-93EAEE2A61B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979D08D4-6EED-7FD6-2357-F08D39E3D59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7200" y="3500438"/>
            <a:ext cx="6184899" cy="2592387"/>
          </a:xfrm>
          <a:prstGeom prst="rect">
            <a:avLst/>
          </a:prstGeom>
          <a:noFill/>
        </p:spPr>
        <p:txBody>
          <a:bodyPr l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18" name="Text Placeholder 18">
            <a:extLst>
              <a:ext uri="{FF2B5EF4-FFF2-40B4-BE49-F238E27FC236}">
                <a16:creationId xmlns:a16="http://schemas.microsoft.com/office/drawing/2014/main" id="{EE613B11-FFB9-80CE-CBF8-F8C8312C78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2576605"/>
            <a:ext cx="6184899" cy="923833"/>
          </a:xfrm>
        </p:spPr>
        <p:txBody>
          <a:bodyPr lIns="180000" rIns="72000"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goes here. Keep text short and within box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F32C9-4D9B-42B5-9D38-1055D00812D2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6094197" cy="65784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31CC719-9BB4-23F1-A794-82D98D3B10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558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31CC719-9BB4-23F1-A794-82D98D3B1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33979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&amp; Text 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0348854-2F0C-31C1-37C5-E164C336A1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3476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0348854-2F0C-31C1-37C5-E164C336A1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816B9B4D-DFFB-C773-686C-E92AACF0201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302479" y="2486641"/>
            <a:ext cx="5409452" cy="3606184"/>
          </a:xfrm>
          <a:prstGeom prst="rect">
            <a:avLst/>
          </a:prstGeo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vert="horz" lIns="180000" tIns="180000" rIns="180000" bIns="180000" rtlCol="0" anchor="ctr">
            <a:noAutofit/>
          </a:bodyPr>
          <a:lstStyle>
            <a:lvl1pPr marL="342900" indent="-342900">
              <a:spcBef>
                <a:spcPts val="1000"/>
              </a:spcBef>
              <a:buFont typeface="Arial" panose="020B0604020202020204" pitchFamily="34" charset="0"/>
              <a:buChar char="•"/>
              <a:defRPr lang="en-US" sz="2200" dirty="0"/>
            </a:lvl1pPr>
          </a:lstStyle>
          <a:p>
            <a:pPr lvl="0"/>
            <a:r>
              <a:rPr lang="en-US"/>
              <a:t>Add paragraph text here. Increase or decrease font size as needed. Use bolded text and color to highlight key information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BCBC8-7D7D-4E48-B7C2-33E780D82FC8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6F874A90-744C-CDF2-C205-106042DFCA3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2479" y="1447800"/>
            <a:ext cx="5409452" cy="1038840"/>
          </a:xfrm>
          <a:noFill/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>
              <a:spcBef>
                <a:spcPts val="0"/>
              </a:spcBef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14" name="Picture Placeholder 26">
            <a:extLst>
              <a:ext uri="{FF2B5EF4-FFF2-40B4-BE49-F238E27FC236}">
                <a16:creationId xmlns:a16="http://schemas.microsoft.com/office/drawing/2014/main" id="{2CE2C2EC-53D8-4B23-90FD-855753B499E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8466" y="457199"/>
            <a:ext cx="5622453" cy="5622447"/>
          </a:xfrm>
          <a:prstGeom prst="roundRect">
            <a:avLst>
              <a:gd name="adj" fmla="val 10047"/>
            </a:avLst>
          </a:prstGeom>
          <a:solidFill>
            <a:schemeClr val="bg2"/>
          </a:solidFill>
        </p:spPr>
        <p:txBody>
          <a:bodyPr wrap="square" lIns="108000" tIns="144000" rIns="108000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 lang="en-GB"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on the icon to add an image. 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ABD558EC-1B8C-F219-C317-3CAFC6D20A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68421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ABD558EC-1B8C-F219-C317-3CAFC6D20A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AC91567-2BE7-B5D7-7543-2B6F953816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479" y="383560"/>
            <a:ext cx="5432320" cy="1064240"/>
          </a:xfrm>
        </p:spPr>
        <p:txBody>
          <a:bodyPr lIns="180000" anchor="t" anchorCtr="0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002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FA89FF45-C56C-9D97-B76A-7E34E1A214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6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FA89FF45-C56C-9D97-B76A-7E34E1A214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92D8A1E7-7D41-5321-6DAC-6586316777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71503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1" name="Picture Placeholder 40">
            <a:extLst>
              <a:ext uri="{FF2B5EF4-FFF2-40B4-BE49-F238E27FC236}">
                <a16:creationId xmlns:a16="http://schemas.microsoft.com/office/drawing/2014/main" id="{04C0C1A7-346A-7E3C-6411-CA1A6E65EC0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73120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E5F28673-1085-F29F-C564-8AB4B6D824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2791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381ACE06-CA42-0A4B-9DF0-5AF9B66278E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528599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44" name="Picture Placeholder 43">
            <a:extLst>
              <a:ext uri="{FF2B5EF4-FFF2-40B4-BE49-F238E27FC236}">
                <a16:creationId xmlns:a16="http://schemas.microsoft.com/office/drawing/2014/main" id="{6AEB9971-9B73-4664-259C-0D399D03275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44079" y="3705351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3FECBFA8-B36A-EED1-3183-4CCF39FB3CF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85695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4FC45E8C-8B06-7FAB-BC99-2DB5BCD6F2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98879" y="1196975"/>
            <a:ext cx="1620000" cy="1620000"/>
          </a:xfrm>
          <a:prstGeom prst="roundRect">
            <a:avLst/>
          </a:prstGeom>
          <a:solidFill>
            <a:schemeClr val="bg2"/>
          </a:solidFill>
        </p:spPr>
        <p:txBody>
          <a:bodyPr wrap="square" lIns="144000" tIns="180000" rIns="144000">
            <a:noAutofit/>
          </a:bodyPr>
          <a:lstStyle>
            <a:lvl1pPr marL="0" indent="0" algn="ctr">
              <a:spcBef>
                <a:spcPts val="0"/>
              </a:spcBef>
              <a:buNone/>
              <a:defRPr sz="1400"/>
            </a:lvl1pPr>
          </a:lstStyle>
          <a:p>
            <a:r>
              <a:rPr lang="en-US"/>
              <a:t>Click to insert image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448AB9-A81B-4629-891C-AAB2D966FD7A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6B97047B-B222-1095-4984-4CB075708A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583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5" name="Text Placeholder 25">
            <a:extLst>
              <a:ext uri="{FF2B5EF4-FFF2-40B4-BE49-F238E27FC236}">
                <a16:creationId xmlns:a16="http://schemas.microsoft.com/office/drawing/2014/main" id="{D9F72961-63D9-0A98-708B-5CADC2FCE4D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32391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7" name="Text Placeholder 25">
            <a:extLst>
              <a:ext uri="{FF2B5EF4-FFF2-40B4-BE49-F238E27FC236}">
                <a16:creationId xmlns:a16="http://schemas.microsoft.com/office/drawing/2014/main" id="{BB05C0F2-473B-D11D-709C-5B049F61EF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81996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8" name="Text Placeholder 25">
            <a:extLst>
              <a:ext uri="{FF2B5EF4-FFF2-40B4-BE49-F238E27FC236}">
                <a16:creationId xmlns:a16="http://schemas.microsoft.com/office/drawing/2014/main" id="{BADB2506-63DF-7C9C-B805-4B8427D14B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40078" y="2831316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49" name="Text Placeholder 25">
            <a:extLst>
              <a:ext uri="{FF2B5EF4-FFF2-40B4-BE49-F238E27FC236}">
                <a16:creationId xmlns:a16="http://schemas.microsoft.com/office/drawing/2014/main" id="{C2A0D23E-F844-FCBD-9453-36D63677DD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9487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50" name="Text Placeholder 25">
            <a:extLst>
              <a:ext uri="{FF2B5EF4-FFF2-40B4-BE49-F238E27FC236}">
                <a16:creationId xmlns:a16="http://schemas.microsoft.com/office/drawing/2014/main" id="{0153A0ED-38A2-F44B-EF5E-5FBEC108C04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5295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sp>
        <p:nvSpPr>
          <p:cNvPr id="51" name="Text Placeholder 25">
            <a:extLst>
              <a:ext uri="{FF2B5EF4-FFF2-40B4-BE49-F238E27FC236}">
                <a16:creationId xmlns:a16="http://schemas.microsoft.com/office/drawing/2014/main" id="{C697EC28-996C-3058-9EF8-EB8373F79C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611036" y="5350678"/>
            <a:ext cx="2686086" cy="776872"/>
          </a:xfrm>
        </p:spPr>
        <p:txBody>
          <a:bodyPr tIns="108000" rIns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insert name.</a:t>
            </a:r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ADD5E5AF-85A8-863D-2021-3972EA8F09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4462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ADD5E5AF-85A8-863D-2021-3972EA8F09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4226411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E9F200-E951-F93B-18AF-C4C5860736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6749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E9F200-E951-F93B-18AF-C4C5860736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C368CEE-E751-4BE4-74CF-27A47FDFB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22240" y="2066397"/>
            <a:ext cx="6512559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lIns="900000" rIns="180000" anchor="ctr" anchorCtr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200">
                <a:solidFill>
                  <a:schemeClr val="bg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Agenda content her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1A839E2-2083-51A3-6D1E-23506CB0F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22240" y="3332693"/>
            <a:ext cx="6512559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54B016A-4C57-D7ED-94FF-247F0D8623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2240" y="4598989"/>
            <a:ext cx="6512559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8011A9-1AF3-AB2F-E4F7-6F3BED06C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2240" y="800100"/>
            <a:ext cx="6512559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/>
            <a:r>
              <a:rPr lang="en-US"/>
              <a:t>Agenda content here.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DF667E-1E73-A29A-320D-A51DAB57DF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100080"/>
            <a:ext cx="3759200" cy="657840"/>
          </a:xfrm>
        </p:spPr>
        <p:txBody>
          <a:bodyPr vert="horz" lIns="72000"/>
          <a:lstStyle>
            <a:lvl1pPr algn="l">
              <a:defRPr sz="4000">
                <a:solidFill>
                  <a:schemeClr val="tx2"/>
                </a:solidFill>
              </a:defRPr>
            </a:lvl1pPr>
          </a:lstStyle>
          <a:p>
            <a:r>
              <a:rPr lang="en-US"/>
              <a:t>Agenda here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26C12071-CB86-10BF-4A15-FB93951440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53351" y="800100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lIns="72000" anchor="ctr" anchorCtr="0"/>
          <a:lstStyle>
            <a:lvl1pPr marL="0" indent="0" algn="ctr">
              <a:buFont typeface="Arial" panose="020B0604020202020204" pitchFamily="34" charset="0"/>
              <a:buNone/>
              <a:defRPr sz="36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AD1B58EF-DF05-BACD-224F-374CA161B04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53351" y="2066397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 dirty="0">
                <a:solidFill>
                  <a:schemeClr val="accent1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E8DCB086-E8F1-927F-ECF6-6E22526C91F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3351" y="3332693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 dirty="0">
                <a:solidFill>
                  <a:schemeClr val="accent3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4A032871-3690-A37B-0AF5-3492F0B82E9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53351" y="4598989"/>
            <a:ext cx="936000" cy="936624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marL="0" indent="0" algn="ctr">
              <a:buNone/>
              <a:defRPr lang="en-US" sz="3600" b="1">
                <a:solidFill>
                  <a:schemeClr val="accent4"/>
                </a:solidFill>
              </a:defRPr>
            </a:lvl1pPr>
          </a:lstStyle>
          <a:p>
            <a:pPr marL="228600" lvl="0" indent="-228600" algn="ctr"/>
            <a:r>
              <a:rPr lang="en-US"/>
              <a:t>#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8A85925-CEF4-D3EF-7365-34B8DF9DA999}"/>
              </a:ext>
            </a:extLst>
          </p:cNvPr>
          <p:cNvGrpSpPr/>
          <p:nvPr/>
        </p:nvGrpSpPr>
        <p:grpSpPr>
          <a:xfrm>
            <a:off x="-36619" y="0"/>
            <a:ext cx="2178474" cy="2517520"/>
            <a:chOff x="-36619" y="0"/>
            <a:chExt cx="2178474" cy="2517520"/>
          </a:xfrm>
          <a:solidFill>
            <a:schemeClr val="accent2">
              <a:alpha val="30000"/>
            </a:schemeClr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81986BFC-7187-470F-540E-57556FD977BE}"/>
                </a:ext>
              </a:extLst>
            </p:cNvPr>
            <p:cNvSpPr/>
            <p:nvPr/>
          </p:nvSpPr>
          <p:spPr>
            <a:xfrm rot="18900000" flipV="1">
              <a:off x="-36619" y="888341"/>
              <a:ext cx="2178474" cy="1201042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4B9386E-8A6A-0F6C-D728-A18158271702}"/>
                </a:ext>
              </a:extLst>
            </p:cNvPr>
            <p:cNvSpPr/>
            <p:nvPr/>
          </p:nvSpPr>
          <p:spPr>
            <a:xfrm rot="5400000">
              <a:off x="699653" y="175318"/>
              <a:ext cx="1551677" cy="1201042"/>
            </a:xfrm>
            <a:custGeom>
              <a:avLst/>
              <a:gdLst>
                <a:gd name="connsiteX0" fmla="*/ 462438 w 1551677"/>
                <a:gd name="connsiteY0" fmla="*/ 268059 h 1201042"/>
                <a:gd name="connsiteX1" fmla="*/ 462441 w 1551677"/>
                <a:gd name="connsiteY1" fmla="*/ 268061 h 1201042"/>
                <a:gd name="connsiteX2" fmla="*/ 462442 w 1551677"/>
                <a:gd name="connsiteY2" fmla="*/ 268059 h 1201042"/>
                <a:gd name="connsiteX3" fmla="*/ 462441 w 1551677"/>
                <a:gd name="connsiteY3" fmla="*/ 268058 h 1201042"/>
                <a:gd name="connsiteX4" fmla="*/ 0 w 1551677"/>
                <a:gd name="connsiteY4" fmla="*/ 879537 h 1201042"/>
                <a:gd name="connsiteX5" fmla="*/ 0 w 1551677"/>
                <a:gd name="connsiteY5" fmla="*/ 20344 h 1201042"/>
                <a:gd name="connsiteX6" fmla="*/ 25856 w 1551677"/>
                <a:gd name="connsiteY6" fmla="*/ 46200 h 1201042"/>
                <a:gd name="connsiteX7" fmla="*/ 331673 w 1551677"/>
                <a:gd name="connsiteY7" fmla="*/ 208904 h 1201042"/>
                <a:gd name="connsiteX8" fmla="*/ 410875 w 1551677"/>
                <a:gd name="connsiteY8" fmla="*/ 216495 h 1201042"/>
                <a:gd name="connsiteX9" fmla="*/ 459968 w 1551677"/>
                <a:gd name="connsiteY9" fmla="*/ 265589 h 1201042"/>
                <a:gd name="connsiteX10" fmla="*/ 459968 w 1551677"/>
                <a:gd name="connsiteY10" fmla="*/ 265585 h 1201042"/>
                <a:gd name="connsiteX11" fmla="*/ 410875 w 1551677"/>
                <a:gd name="connsiteY11" fmla="*/ 216492 h 1201042"/>
                <a:gd name="connsiteX12" fmla="*/ 444845 w 1551677"/>
                <a:gd name="connsiteY12" fmla="*/ 219749 h 1201042"/>
                <a:gd name="connsiteX13" fmla="*/ 459968 w 1551677"/>
                <a:gd name="connsiteY13" fmla="*/ 218300 h 1201042"/>
                <a:gd name="connsiteX14" fmla="*/ 459968 w 1551677"/>
                <a:gd name="connsiteY14" fmla="*/ 217826 h 1201042"/>
                <a:gd name="connsiteX15" fmla="*/ 462441 w 1551677"/>
                <a:gd name="connsiteY15" fmla="*/ 218063 h 1201042"/>
                <a:gd name="connsiteX16" fmla="*/ 464912 w 1551677"/>
                <a:gd name="connsiteY16" fmla="*/ 217826 h 1201042"/>
                <a:gd name="connsiteX17" fmla="*/ 464912 w 1551677"/>
                <a:gd name="connsiteY17" fmla="*/ 218300 h 1201042"/>
                <a:gd name="connsiteX18" fmla="*/ 480035 w 1551677"/>
                <a:gd name="connsiteY18" fmla="*/ 219749 h 1201042"/>
                <a:gd name="connsiteX19" fmla="*/ 514005 w 1551677"/>
                <a:gd name="connsiteY19" fmla="*/ 216492 h 1201042"/>
                <a:gd name="connsiteX20" fmla="*/ 464912 w 1551677"/>
                <a:gd name="connsiteY20" fmla="*/ 265585 h 1201042"/>
                <a:gd name="connsiteX21" fmla="*/ 464912 w 1551677"/>
                <a:gd name="connsiteY21" fmla="*/ 265589 h 1201042"/>
                <a:gd name="connsiteX22" fmla="*/ 514005 w 1551677"/>
                <a:gd name="connsiteY22" fmla="*/ 216495 h 1201042"/>
                <a:gd name="connsiteX23" fmla="*/ 593207 w 1551677"/>
                <a:gd name="connsiteY23" fmla="*/ 208904 h 1201042"/>
                <a:gd name="connsiteX24" fmla="*/ 899024 w 1551677"/>
                <a:gd name="connsiteY24" fmla="*/ 46200 h 1201042"/>
                <a:gd name="connsiteX25" fmla="*/ 937352 w 1551677"/>
                <a:gd name="connsiteY25" fmla="*/ 7872 h 1201042"/>
                <a:gd name="connsiteX26" fmla="*/ 943777 w 1551677"/>
                <a:gd name="connsiteY26" fmla="*/ 7256 h 1201042"/>
                <a:gd name="connsiteX27" fmla="*/ 943777 w 1551677"/>
                <a:gd name="connsiteY27" fmla="*/ 7253 h 1201042"/>
                <a:gd name="connsiteX28" fmla="*/ 1019458 w 1551677"/>
                <a:gd name="connsiteY28" fmla="*/ 0 h 1201042"/>
                <a:gd name="connsiteX29" fmla="*/ 1512743 w 1551677"/>
                <a:gd name="connsiteY29" fmla="*/ 204326 h 1201042"/>
                <a:gd name="connsiteX30" fmla="*/ 1551677 w 1551677"/>
                <a:gd name="connsiteY30" fmla="*/ 243260 h 1201042"/>
                <a:gd name="connsiteX31" fmla="*/ 1551677 w 1551677"/>
                <a:gd name="connsiteY31" fmla="*/ 252736 h 1201042"/>
                <a:gd name="connsiteX32" fmla="*/ 943778 w 1551677"/>
                <a:gd name="connsiteY32" fmla="*/ 860636 h 1201042"/>
                <a:gd name="connsiteX33" fmla="*/ 943778 w 1551677"/>
                <a:gd name="connsiteY33" fmla="*/ 860639 h 1201042"/>
                <a:gd name="connsiteX34" fmla="*/ 690769 w 1551677"/>
                <a:gd name="connsiteY34" fmla="*/ 1113648 h 1201042"/>
                <a:gd name="connsiteX35" fmla="*/ 479781 w 1551677"/>
                <a:gd name="connsiteY35" fmla="*/ 1201042 h 1201042"/>
                <a:gd name="connsiteX36" fmla="*/ 462441 w 1551677"/>
                <a:gd name="connsiteY36" fmla="*/ 1199380 h 1201042"/>
                <a:gd name="connsiteX37" fmla="*/ 445099 w 1551677"/>
                <a:gd name="connsiteY37" fmla="*/ 1201042 h 1201042"/>
                <a:gd name="connsiteX38" fmla="*/ 234111 w 1551677"/>
                <a:gd name="connsiteY38" fmla="*/ 1113648 h 12010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1551677" h="1201042">
                  <a:moveTo>
                    <a:pt x="462438" y="268059"/>
                  </a:moveTo>
                  <a:lnTo>
                    <a:pt x="462441" y="268061"/>
                  </a:lnTo>
                  <a:lnTo>
                    <a:pt x="462442" y="268059"/>
                  </a:lnTo>
                  <a:lnTo>
                    <a:pt x="462441" y="268058"/>
                  </a:lnTo>
                  <a:close/>
                  <a:moveTo>
                    <a:pt x="0" y="879537"/>
                  </a:moveTo>
                  <a:lnTo>
                    <a:pt x="0" y="20344"/>
                  </a:lnTo>
                  <a:lnTo>
                    <a:pt x="25856" y="46200"/>
                  </a:lnTo>
                  <a:cubicBezTo>
                    <a:pt x="112631" y="132975"/>
                    <a:pt x="219625" y="187209"/>
                    <a:pt x="331673" y="208904"/>
                  </a:cubicBezTo>
                  <a:lnTo>
                    <a:pt x="410875" y="216495"/>
                  </a:lnTo>
                  <a:lnTo>
                    <a:pt x="459968" y="265589"/>
                  </a:lnTo>
                  <a:lnTo>
                    <a:pt x="459968" y="265585"/>
                  </a:lnTo>
                  <a:lnTo>
                    <a:pt x="410875" y="216492"/>
                  </a:lnTo>
                  <a:lnTo>
                    <a:pt x="444845" y="219749"/>
                  </a:lnTo>
                  <a:lnTo>
                    <a:pt x="459968" y="218300"/>
                  </a:lnTo>
                  <a:lnTo>
                    <a:pt x="459968" y="217826"/>
                  </a:lnTo>
                  <a:lnTo>
                    <a:pt x="462441" y="218063"/>
                  </a:lnTo>
                  <a:lnTo>
                    <a:pt x="464912" y="217826"/>
                  </a:lnTo>
                  <a:lnTo>
                    <a:pt x="464912" y="218300"/>
                  </a:lnTo>
                  <a:lnTo>
                    <a:pt x="480035" y="219749"/>
                  </a:lnTo>
                  <a:lnTo>
                    <a:pt x="514005" y="216492"/>
                  </a:lnTo>
                  <a:lnTo>
                    <a:pt x="464912" y="265585"/>
                  </a:lnTo>
                  <a:lnTo>
                    <a:pt x="464912" y="265589"/>
                  </a:lnTo>
                  <a:lnTo>
                    <a:pt x="514005" y="216495"/>
                  </a:lnTo>
                  <a:lnTo>
                    <a:pt x="593207" y="208904"/>
                  </a:lnTo>
                  <a:cubicBezTo>
                    <a:pt x="705255" y="187209"/>
                    <a:pt x="812249" y="132975"/>
                    <a:pt x="899024" y="46200"/>
                  </a:cubicBezTo>
                  <a:lnTo>
                    <a:pt x="937352" y="7872"/>
                  </a:lnTo>
                  <a:lnTo>
                    <a:pt x="943777" y="7256"/>
                  </a:lnTo>
                  <a:lnTo>
                    <a:pt x="943777" y="7253"/>
                  </a:lnTo>
                  <a:lnTo>
                    <a:pt x="1019458" y="0"/>
                  </a:lnTo>
                  <a:cubicBezTo>
                    <a:pt x="1197992" y="0"/>
                    <a:pt x="1376526" y="68108"/>
                    <a:pt x="1512743" y="204326"/>
                  </a:cubicBezTo>
                  <a:lnTo>
                    <a:pt x="1551677" y="243260"/>
                  </a:lnTo>
                  <a:lnTo>
                    <a:pt x="1551677" y="252736"/>
                  </a:lnTo>
                  <a:lnTo>
                    <a:pt x="943778" y="860636"/>
                  </a:lnTo>
                  <a:lnTo>
                    <a:pt x="943778" y="860639"/>
                  </a:lnTo>
                  <a:lnTo>
                    <a:pt x="690769" y="1113648"/>
                  </a:lnTo>
                  <a:cubicBezTo>
                    <a:pt x="632507" y="1171911"/>
                    <a:pt x="556144" y="1201042"/>
                    <a:pt x="479781" y="1201042"/>
                  </a:cubicBezTo>
                  <a:lnTo>
                    <a:pt x="462441" y="1199380"/>
                  </a:lnTo>
                  <a:lnTo>
                    <a:pt x="445099" y="1201042"/>
                  </a:lnTo>
                  <a:cubicBezTo>
                    <a:pt x="368736" y="1201042"/>
                    <a:pt x="292373" y="1171911"/>
                    <a:pt x="234111" y="1113648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D9D79138-EB59-AA98-9D7F-64F25CDD3423}"/>
                </a:ext>
              </a:extLst>
            </p:cNvPr>
            <p:cNvSpPr/>
            <p:nvPr/>
          </p:nvSpPr>
          <p:spPr>
            <a:xfrm rot="10800000">
              <a:off x="-1" y="1316479"/>
              <a:ext cx="1114046" cy="1201041"/>
            </a:xfrm>
            <a:custGeom>
              <a:avLst/>
              <a:gdLst>
                <a:gd name="connsiteX0" fmla="*/ 1089238 w 1114046"/>
                <a:gd name="connsiteY0" fmla="*/ 268061 h 1201041"/>
                <a:gd name="connsiteX1" fmla="*/ 1089239 w 1114046"/>
                <a:gd name="connsiteY1" fmla="*/ 268059 h 1201041"/>
                <a:gd name="connsiteX2" fmla="*/ 1089238 w 1114046"/>
                <a:gd name="connsiteY2" fmla="*/ 268058 h 1201041"/>
                <a:gd name="connsiteX3" fmla="*/ 1089236 w 1114046"/>
                <a:gd name="connsiteY3" fmla="*/ 268059 h 1201041"/>
                <a:gd name="connsiteX4" fmla="*/ 1106579 w 1114046"/>
                <a:gd name="connsiteY4" fmla="*/ 1201041 h 1201041"/>
                <a:gd name="connsiteX5" fmla="*/ 1089238 w 1114046"/>
                <a:gd name="connsiteY5" fmla="*/ 1199379 h 1201041"/>
                <a:gd name="connsiteX6" fmla="*/ 1071896 w 1114046"/>
                <a:gd name="connsiteY6" fmla="*/ 1201041 h 1201041"/>
                <a:gd name="connsiteX7" fmla="*/ 860908 w 1114046"/>
                <a:gd name="connsiteY7" fmla="*/ 1113647 h 1201041"/>
                <a:gd name="connsiteX8" fmla="*/ 607900 w 1114046"/>
                <a:gd name="connsiteY8" fmla="*/ 860638 h 1201041"/>
                <a:gd name="connsiteX9" fmla="*/ 607900 w 1114046"/>
                <a:gd name="connsiteY9" fmla="*/ 860635 h 1201041"/>
                <a:gd name="connsiteX10" fmla="*/ 0 w 1114046"/>
                <a:gd name="connsiteY10" fmla="*/ 252736 h 1201041"/>
                <a:gd name="connsiteX11" fmla="*/ 0 w 1114046"/>
                <a:gd name="connsiteY11" fmla="*/ 243260 h 1201041"/>
                <a:gd name="connsiteX12" fmla="*/ 38934 w 1114046"/>
                <a:gd name="connsiteY12" fmla="*/ 204326 h 1201041"/>
                <a:gd name="connsiteX13" fmla="*/ 532220 w 1114046"/>
                <a:gd name="connsiteY13" fmla="*/ 0 h 1201041"/>
                <a:gd name="connsiteX14" fmla="*/ 607901 w 1114046"/>
                <a:gd name="connsiteY14" fmla="*/ 7254 h 1201041"/>
                <a:gd name="connsiteX15" fmla="*/ 607901 w 1114046"/>
                <a:gd name="connsiteY15" fmla="*/ 7256 h 1201041"/>
                <a:gd name="connsiteX16" fmla="*/ 614326 w 1114046"/>
                <a:gd name="connsiteY16" fmla="*/ 7872 h 1201041"/>
                <a:gd name="connsiteX17" fmla="*/ 652653 w 1114046"/>
                <a:gd name="connsiteY17" fmla="*/ 46200 h 1201041"/>
                <a:gd name="connsiteX18" fmla="*/ 958470 w 1114046"/>
                <a:gd name="connsiteY18" fmla="*/ 208903 h 1201041"/>
                <a:gd name="connsiteX19" fmla="*/ 1037672 w 1114046"/>
                <a:gd name="connsiteY19" fmla="*/ 216494 h 1201041"/>
                <a:gd name="connsiteX20" fmla="*/ 1086765 w 1114046"/>
                <a:gd name="connsiteY20" fmla="*/ 265588 h 1201041"/>
                <a:gd name="connsiteX21" fmla="*/ 1086765 w 1114046"/>
                <a:gd name="connsiteY21" fmla="*/ 265585 h 1201041"/>
                <a:gd name="connsiteX22" fmla="*/ 1037672 w 1114046"/>
                <a:gd name="connsiteY22" fmla="*/ 216492 h 1201041"/>
                <a:gd name="connsiteX23" fmla="*/ 1071643 w 1114046"/>
                <a:gd name="connsiteY23" fmla="*/ 219749 h 1201041"/>
                <a:gd name="connsiteX24" fmla="*/ 1086765 w 1114046"/>
                <a:gd name="connsiteY24" fmla="*/ 218300 h 1201041"/>
                <a:gd name="connsiteX25" fmla="*/ 1086765 w 1114046"/>
                <a:gd name="connsiteY25" fmla="*/ 217826 h 1201041"/>
                <a:gd name="connsiteX26" fmla="*/ 1089238 w 1114046"/>
                <a:gd name="connsiteY26" fmla="*/ 218063 h 1201041"/>
                <a:gd name="connsiteX27" fmla="*/ 1091710 w 1114046"/>
                <a:gd name="connsiteY27" fmla="*/ 217826 h 1201041"/>
                <a:gd name="connsiteX28" fmla="*/ 1091710 w 1114046"/>
                <a:gd name="connsiteY28" fmla="*/ 218300 h 1201041"/>
                <a:gd name="connsiteX29" fmla="*/ 1106832 w 1114046"/>
                <a:gd name="connsiteY29" fmla="*/ 219749 h 1201041"/>
                <a:gd name="connsiteX30" fmla="*/ 1114046 w 1114046"/>
                <a:gd name="connsiteY30" fmla="*/ 219058 h 1201041"/>
                <a:gd name="connsiteX31" fmla="*/ 1114046 w 1114046"/>
                <a:gd name="connsiteY31" fmla="*/ 243249 h 1201041"/>
                <a:gd name="connsiteX32" fmla="*/ 1091710 w 1114046"/>
                <a:gd name="connsiteY32" fmla="*/ 265585 h 1201041"/>
                <a:gd name="connsiteX33" fmla="*/ 1091710 w 1114046"/>
                <a:gd name="connsiteY33" fmla="*/ 265588 h 1201041"/>
                <a:gd name="connsiteX34" fmla="*/ 1114046 w 1114046"/>
                <a:gd name="connsiteY34" fmla="*/ 243252 h 1201041"/>
                <a:gd name="connsiteX35" fmla="*/ 1114046 w 1114046"/>
                <a:gd name="connsiteY35" fmla="*/ 1200325 h 1201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14046" h="1201041">
                  <a:moveTo>
                    <a:pt x="1089238" y="268061"/>
                  </a:moveTo>
                  <a:lnTo>
                    <a:pt x="1089239" y="268059"/>
                  </a:lnTo>
                  <a:lnTo>
                    <a:pt x="1089238" y="268058"/>
                  </a:lnTo>
                  <a:lnTo>
                    <a:pt x="1089236" y="268059"/>
                  </a:lnTo>
                  <a:close/>
                  <a:moveTo>
                    <a:pt x="1106579" y="1201041"/>
                  </a:moveTo>
                  <a:lnTo>
                    <a:pt x="1089238" y="1199379"/>
                  </a:lnTo>
                  <a:lnTo>
                    <a:pt x="1071896" y="1201041"/>
                  </a:lnTo>
                  <a:cubicBezTo>
                    <a:pt x="995534" y="1201041"/>
                    <a:pt x="919171" y="1171910"/>
                    <a:pt x="860908" y="1113647"/>
                  </a:cubicBezTo>
                  <a:lnTo>
                    <a:pt x="607900" y="860638"/>
                  </a:lnTo>
                  <a:lnTo>
                    <a:pt x="607900" y="860635"/>
                  </a:lnTo>
                  <a:lnTo>
                    <a:pt x="0" y="252736"/>
                  </a:lnTo>
                  <a:lnTo>
                    <a:pt x="0" y="243260"/>
                  </a:lnTo>
                  <a:lnTo>
                    <a:pt x="38934" y="204326"/>
                  </a:lnTo>
                  <a:cubicBezTo>
                    <a:pt x="175151" y="68108"/>
                    <a:pt x="353685" y="0"/>
                    <a:pt x="532220" y="0"/>
                  </a:cubicBezTo>
                  <a:lnTo>
                    <a:pt x="607901" y="7254"/>
                  </a:lnTo>
                  <a:lnTo>
                    <a:pt x="607901" y="7256"/>
                  </a:lnTo>
                  <a:lnTo>
                    <a:pt x="614326" y="7872"/>
                  </a:lnTo>
                  <a:lnTo>
                    <a:pt x="652653" y="46200"/>
                  </a:lnTo>
                  <a:cubicBezTo>
                    <a:pt x="739429" y="132975"/>
                    <a:pt x="846422" y="187209"/>
                    <a:pt x="958470" y="208903"/>
                  </a:cubicBezTo>
                  <a:lnTo>
                    <a:pt x="1037672" y="216494"/>
                  </a:lnTo>
                  <a:lnTo>
                    <a:pt x="1086765" y="265588"/>
                  </a:lnTo>
                  <a:lnTo>
                    <a:pt x="1086765" y="265585"/>
                  </a:lnTo>
                  <a:lnTo>
                    <a:pt x="1037672" y="216492"/>
                  </a:lnTo>
                  <a:lnTo>
                    <a:pt x="1071643" y="219749"/>
                  </a:lnTo>
                  <a:lnTo>
                    <a:pt x="1086765" y="218300"/>
                  </a:lnTo>
                  <a:lnTo>
                    <a:pt x="1086765" y="217826"/>
                  </a:lnTo>
                  <a:lnTo>
                    <a:pt x="1089238" y="218063"/>
                  </a:lnTo>
                  <a:lnTo>
                    <a:pt x="1091710" y="217826"/>
                  </a:lnTo>
                  <a:lnTo>
                    <a:pt x="1091710" y="218300"/>
                  </a:lnTo>
                  <a:lnTo>
                    <a:pt x="1106832" y="219749"/>
                  </a:lnTo>
                  <a:lnTo>
                    <a:pt x="1114046" y="219058"/>
                  </a:lnTo>
                  <a:lnTo>
                    <a:pt x="1114046" y="243249"/>
                  </a:lnTo>
                  <a:lnTo>
                    <a:pt x="1091710" y="265585"/>
                  </a:lnTo>
                  <a:lnTo>
                    <a:pt x="1091710" y="265588"/>
                  </a:lnTo>
                  <a:lnTo>
                    <a:pt x="1114046" y="243252"/>
                  </a:lnTo>
                  <a:lnTo>
                    <a:pt x="1114046" y="1200325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2138081-97D7-B328-E190-2AEFE2EA8EE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FC44A2C0-BE61-4EDF-9FD5-AA7C3C6C4F15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940201-2D26-D759-3D63-5814441A7899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C2BCCD4-0274-BFA2-B5D3-6480FE8CCA7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56981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65DE6B9-8F07-CD45-486A-6D15EFA85A0C}"/>
              </a:ext>
            </a:extLst>
          </p:cNvPr>
          <p:cNvSpPr/>
          <p:nvPr userDrawn="1"/>
        </p:nvSpPr>
        <p:spPr>
          <a:xfrm>
            <a:off x="0" y="4461737"/>
            <a:ext cx="2719338" cy="2396263"/>
          </a:xfrm>
          <a:custGeom>
            <a:avLst/>
            <a:gdLst>
              <a:gd name="connsiteX0" fmla="*/ 1585247 w 2719338"/>
              <a:gd name="connsiteY0" fmla="*/ 105 h 2396263"/>
              <a:gd name="connsiteX1" fmla="*/ 1714102 w 2719338"/>
              <a:gd name="connsiteY1" fmla="*/ 16278 h 2396263"/>
              <a:gd name="connsiteX2" fmla="*/ 2018836 w 2719338"/>
              <a:gd name="connsiteY2" fmla="*/ 305250 h 2396263"/>
              <a:gd name="connsiteX3" fmla="*/ 2719338 w 2719338"/>
              <a:gd name="connsiteY3" fmla="*/ 2396263 h 2396263"/>
              <a:gd name="connsiteX4" fmla="*/ 0 w 2719338"/>
              <a:gd name="connsiteY4" fmla="*/ 2396262 h 2396263"/>
              <a:gd name="connsiteX5" fmla="*/ 0 w 2719338"/>
              <a:gd name="connsiteY5" fmla="*/ 509971 h 2396263"/>
              <a:gd name="connsiteX6" fmla="*/ 1452772 w 2719338"/>
              <a:gd name="connsiteY6" fmla="*/ 23282 h 2396263"/>
              <a:gd name="connsiteX7" fmla="*/ 1585247 w 2719338"/>
              <a:gd name="connsiteY7" fmla="*/ 105 h 2396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19338" h="2396263">
                <a:moveTo>
                  <a:pt x="1585247" y="105"/>
                </a:moveTo>
                <a:cubicBezTo>
                  <a:pt x="1629229" y="-850"/>
                  <a:pt x="1672607" y="4753"/>
                  <a:pt x="1714102" y="16278"/>
                </a:cubicBezTo>
                <a:cubicBezTo>
                  <a:pt x="1852418" y="54691"/>
                  <a:pt x="1969802" y="158890"/>
                  <a:pt x="2018836" y="305250"/>
                </a:cubicBezTo>
                <a:lnTo>
                  <a:pt x="2719338" y="2396263"/>
                </a:lnTo>
                <a:lnTo>
                  <a:pt x="0" y="2396262"/>
                </a:lnTo>
                <a:lnTo>
                  <a:pt x="0" y="509971"/>
                </a:lnTo>
                <a:lnTo>
                  <a:pt x="1452772" y="23282"/>
                </a:lnTo>
                <a:cubicBezTo>
                  <a:pt x="1496679" y="8574"/>
                  <a:pt x="1541264" y="1059"/>
                  <a:pt x="1585247" y="10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D7A6A-715A-5FEA-515E-4F253BD84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341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D7A6A-715A-5FEA-515E-4F253BD84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BA50-BB36-2513-B7E8-AB79C83B5EF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5922" y="2853465"/>
            <a:ext cx="5638801" cy="14952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71232B-F97E-A6AE-A19A-F77997950CF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199" y="457201"/>
            <a:ext cx="5638801" cy="2396264"/>
          </a:xfrm>
        </p:spPr>
        <p:txBody>
          <a:bodyPr vert="horz" anchor="b"/>
          <a:lstStyle>
            <a:lvl1pPr algn="l">
              <a:defRPr sz="3200" b="1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" name="Text Placeholder 145">
            <a:extLst>
              <a:ext uri="{FF2B5EF4-FFF2-40B4-BE49-F238E27FC236}">
                <a16:creationId xmlns:a16="http://schemas.microsoft.com/office/drawing/2014/main" id="{06A37646-E5B7-0979-2369-F3B33DDE3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055" y="4900963"/>
            <a:ext cx="1099228" cy="1099228"/>
          </a:xfrm>
          <a:prstGeom prst="ellipse">
            <a:avLst/>
          </a:prstGeom>
          <a:solidFill>
            <a:schemeClr val="bg1"/>
          </a:solidFill>
        </p:spPr>
        <p:txBody>
          <a:bodyPr wrap="none" lIns="72000" anchor="ctr" anchorCtr="0"/>
          <a:lstStyle>
            <a:lvl1pPr marL="0" indent="0" algn="ctr" rtl="0">
              <a:buNone/>
              <a:defRPr sz="5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Picture Placeholder 15">
            <a:extLst>
              <a:ext uri="{FF2B5EF4-FFF2-40B4-BE49-F238E27FC236}">
                <a16:creationId xmlns:a16="http://schemas.microsoft.com/office/drawing/2014/main" id="{1369911E-715C-2EB5-1E07-7B25118AEE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0B9A7C56-8272-DE62-2C75-20E38B73610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7F376A17-C22F-8F9A-8BAD-4C60686F740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79581132-167D-A1BF-D246-691A46865A6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2678460-E4C4-5343-1E18-121169BB76F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75322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With Imag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9629756D-B26A-C8BF-30B8-301EF1945FCA}"/>
              </a:ext>
            </a:extLst>
          </p:cNvPr>
          <p:cNvSpPr/>
          <p:nvPr userDrawn="1"/>
        </p:nvSpPr>
        <p:spPr>
          <a:xfrm>
            <a:off x="0" y="0"/>
            <a:ext cx="12190412" cy="6858000"/>
          </a:xfrm>
          <a:custGeom>
            <a:avLst/>
            <a:gdLst>
              <a:gd name="connsiteX0" fmla="*/ 2719338 w 12190412"/>
              <a:gd name="connsiteY0" fmla="*/ 0 h 6858000"/>
              <a:gd name="connsiteX1" fmla="*/ 12190412 w 12190412"/>
              <a:gd name="connsiteY1" fmla="*/ 0 h 6858000"/>
              <a:gd name="connsiteX2" fmla="*/ 12190412 w 12190412"/>
              <a:gd name="connsiteY2" fmla="*/ 6858000 h 6858000"/>
              <a:gd name="connsiteX3" fmla="*/ 0 w 12190412"/>
              <a:gd name="connsiteY3" fmla="*/ 6858000 h 6858000"/>
              <a:gd name="connsiteX4" fmla="*/ 0 w 12190412"/>
              <a:gd name="connsiteY4" fmla="*/ 1886292 h 6858000"/>
              <a:gd name="connsiteX5" fmla="*/ 1452772 w 12190412"/>
              <a:gd name="connsiteY5" fmla="*/ 2372981 h 6858000"/>
              <a:gd name="connsiteX6" fmla="*/ 1585247 w 12190412"/>
              <a:gd name="connsiteY6" fmla="*/ 2396158 h 6858000"/>
              <a:gd name="connsiteX7" fmla="*/ 1714102 w 12190412"/>
              <a:gd name="connsiteY7" fmla="*/ 2379985 h 6858000"/>
              <a:gd name="connsiteX8" fmla="*/ 2018836 w 12190412"/>
              <a:gd name="connsiteY8" fmla="*/ 2091013 h 6858000"/>
              <a:gd name="connsiteX9" fmla="*/ 2719338 w 12190412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0412" h="6858000">
                <a:moveTo>
                  <a:pt x="2719338" y="0"/>
                </a:moveTo>
                <a:lnTo>
                  <a:pt x="12190412" y="0"/>
                </a:lnTo>
                <a:lnTo>
                  <a:pt x="12190412" y="6858000"/>
                </a:lnTo>
                <a:lnTo>
                  <a:pt x="0" y="6858000"/>
                </a:lnTo>
                <a:lnTo>
                  <a:pt x="0" y="1886292"/>
                </a:lnTo>
                <a:lnTo>
                  <a:pt x="1452772" y="2372981"/>
                </a:lnTo>
                <a:cubicBezTo>
                  <a:pt x="1496679" y="2387689"/>
                  <a:pt x="1541264" y="2395204"/>
                  <a:pt x="1585247" y="2396158"/>
                </a:cubicBezTo>
                <a:cubicBezTo>
                  <a:pt x="1629229" y="2397113"/>
                  <a:pt x="1672607" y="2391510"/>
                  <a:pt x="1714102" y="2379985"/>
                </a:cubicBezTo>
                <a:cubicBezTo>
                  <a:pt x="1852418" y="2341572"/>
                  <a:pt x="1969802" y="2237373"/>
                  <a:pt x="2018836" y="2091013"/>
                </a:cubicBezTo>
                <a:lnTo>
                  <a:pt x="2719338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98D7A6A-715A-5FEA-515E-4F253BD849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689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98D7A6A-715A-5FEA-515E-4F253BD849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6ABA50-BB36-2513-B7E8-AB79C83B5EF0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475922" y="4599441"/>
            <a:ext cx="5638801" cy="1495238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2400" b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71232B-F97E-A6AE-A19A-F77997950CF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457199" y="2203177"/>
            <a:ext cx="5638801" cy="2396264"/>
          </a:xfrm>
        </p:spPr>
        <p:txBody>
          <a:bodyPr vert="horz" anchor="b"/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6" name="Text Placeholder 145">
            <a:extLst>
              <a:ext uri="{FF2B5EF4-FFF2-40B4-BE49-F238E27FC236}">
                <a16:creationId xmlns:a16="http://schemas.microsoft.com/office/drawing/2014/main" id="{06A37646-E5B7-0979-2369-F3B33DDE32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0055" y="969030"/>
            <a:ext cx="1099228" cy="1099228"/>
          </a:xfrm>
          <a:prstGeom prst="ellipse">
            <a:avLst/>
          </a:prstGeom>
          <a:noFill/>
        </p:spPr>
        <p:txBody>
          <a:bodyPr wrap="none" lIns="72000" anchor="ctr" anchorCtr="0"/>
          <a:lstStyle>
            <a:lvl1pPr marL="0" indent="0" algn="ctr" rtl="0">
              <a:buNone/>
              <a:defRPr sz="5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8" name="Picture Placeholder 15">
            <a:extLst>
              <a:ext uri="{FF2B5EF4-FFF2-40B4-BE49-F238E27FC236}">
                <a16:creationId xmlns:a16="http://schemas.microsoft.com/office/drawing/2014/main" id="{1369911E-715C-2EB5-1E07-7B25118AEE9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551397" y="2"/>
            <a:ext cx="5640604" cy="5987275"/>
          </a:xfrm>
          <a:custGeom>
            <a:avLst/>
            <a:gdLst>
              <a:gd name="connsiteX0" fmla="*/ 0 w 5640604"/>
              <a:gd name="connsiteY0" fmla="*/ 0 h 5987275"/>
              <a:gd name="connsiteX1" fmla="*/ 5640604 w 5640604"/>
              <a:gd name="connsiteY1" fmla="*/ 1 h 5987275"/>
              <a:gd name="connsiteX2" fmla="*/ 5640604 w 5640604"/>
              <a:gd name="connsiteY2" fmla="*/ 5151008 h 5987275"/>
              <a:gd name="connsiteX3" fmla="*/ 1655306 w 5640604"/>
              <a:gd name="connsiteY3" fmla="*/ 5978734 h 5987275"/>
              <a:gd name="connsiteX4" fmla="*/ 1176516 w 5640604"/>
              <a:gd name="connsiteY4" fmla="*/ 5664625 h 5987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40604" h="5987275">
                <a:moveTo>
                  <a:pt x="0" y="0"/>
                </a:moveTo>
                <a:lnTo>
                  <a:pt x="5640604" y="1"/>
                </a:lnTo>
                <a:lnTo>
                  <a:pt x="5640604" y="5151008"/>
                </a:lnTo>
                <a:lnTo>
                  <a:pt x="1655306" y="5978734"/>
                </a:lnTo>
                <a:cubicBezTo>
                  <a:pt x="1436353" y="6024210"/>
                  <a:pt x="1221990" y="5883578"/>
                  <a:pt x="1176516" y="56646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bIns="1800000" anchor="ctr">
            <a:noAutofit/>
          </a:bodyPr>
          <a:lstStyle>
            <a:lvl1pPr marL="0" indent="0" algn="ctr">
              <a:spcBef>
                <a:spcPts val="0"/>
              </a:spcBef>
              <a:buNone/>
              <a:defRPr/>
            </a:lvl1pPr>
          </a:lstStyle>
          <a:p>
            <a:pPr marL="228600" lvl="0" indent="-228600" algn="ctr"/>
            <a:r>
              <a:rPr lang="en-US"/>
              <a:t>Click on the icon to add an image </a:t>
            </a:r>
            <a:br>
              <a:rPr lang="en-US"/>
            </a:br>
            <a:r>
              <a:rPr lang="en-US"/>
              <a:t>inside the placeholder.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945E264-49F1-4D02-FF3F-67FF8BB5BA1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22361" y="6294409"/>
            <a:ext cx="1012439" cy="410862"/>
          </a:xfrm>
          <a:prstGeom prst="rect">
            <a:avLst/>
          </a:prstGeom>
        </p:spPr>
      </p:pic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1B5EEE65-B893-0A98-410E-1A9578BE6158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FEFEF251-C351-9593-0C8D-FF17D2E0464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42D9A00-7555-9A84-DF6F-DB2C4C19EBA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4975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CF02C9-342D-E7D9-DE08-C2DD7B9E25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221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CF02C9-342D-E7D9-DE08-C2DD7B9E25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FB5C498-60AD-80EA-3A93-C55F587E0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022212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FB5C498-60AD-80EA-3A93-C55F587E0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96DD058-0B59-2604-D31B-7A99CBA2E2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DE5F930-1381-301D-AC92-702D3431F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66C4AC-452C-3445-4E99-7BC3EDF869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1374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736" y="368301"/>
            <a:ext cx="11040533" cy="711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575736" y="1248076"/>
            <a:ext cx="11040533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0946F9C4-43F2-C745-8603-4010E1F37402}"/>
              </a:ext>
            </a:extLst>
          </p:cNvPr>
          <p:cNvSpPr txBox="1"/>
          <p:nvPr userDrawn="1"/>
        </p:nvSpPr>
        <p:spPr>
          <a:xfrm>
            <a:off x="43518" y="6600119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DA0CA48A-3B7E-F74A-87D0-C6F183D5F8EA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45FFD90-BD48-9247-8207-5B00BD0D4C5C}"/>
              </a:ext>
            </a:extLst>
          </p:cNvPr>
          <p:cNvSpPr txBox="1"/>
          <p:nvPr userDrawn="1"/>
        </p:nvSpPr>
        <p:spPr>
          <a:xfrm>
            <a:off x="11066993" y="6571128"/>
            <a:ext cx="1013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9ED3126B-7436-AD49-81DE-62612FB5163C}" type="datetime3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12 February 2025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6778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pos="731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8F02CD3-AE76-ED42-AD5E-6D10A7D41C12}"/>
              </a:ext>
            </a:extLst>
          </p:cNvPr>
          <p:cNvSpPr txBox="1"/>
          <p:nvPr userDrawn="1"/>
        </p:nvSpPr>
        <p:spPr>
          <a:xfrm>
            <a:off x="43518" y="6600119"/>
            <a:ext cx="3674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DA0CA48A-3B7E-F74A-87D0-C6F183D5F8EA}" type="slidenum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‹#›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4760BB2-D91F-154B-84C5-538826449210}"/>
              </a:ext>
            </a:extLst>
          </p:cNvPr>
          <p:cNvSpPr txBox="1"/>
          <p:nvPr userDrawn="1"/>
        </p:nvSpPr>
        <p:spPr>
          <a:xfrm>
            <a:off x="11066993" y="6585196"/>
            <a:ext cx="10134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9ED3126B-7436-AD49-81DE-62612FB5163C}" type="datetime3">
              <a:rPr lang="en-US" sz="1200" smtClean="0">
                <a:solidFill>
                  <a:schemeClr val="bg1">
                    <a:lumMod val="50000"/>
                  </a:schemeClr>
                </a:solidFill>
              </a:rPr>
              <a:t>12 February 2025</a:t>
            </a:fld>
            <a:endParaRPr lang="en-US" sz="120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9639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  <p15:guide id="2" pos="363" userDrawn="1">
          <p15:clr>
            <a:srgbClr val="FBAE40"/>
          </p15:clr>
        </p15:guide>
        <p15:guide id="3" pos="7317" userDrawn="1">
          <p15:clr>
            <a:srgbClr val="FBAE40"/>
          </p15:clr>
        </p15:guide>
        <p15:guide id="4" orient="horz" pos="232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773287"/>
            <a:ext cx="10972800" cy="4467223"/>
          </a:xfrm>
        </p:spPr>
        <p:txBody>
          <a:bodyPr/>
          <a:lstStyle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/>
            </a:lvl1pPr>
          </a:lstStyle>
          <a:p>
            <a:fld id="{0BEC179B-A958-8D48-AABF-99373509FE5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642877"/>
            <a:ext cx="10972800" cy="9786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5438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&amp; Text 6">
  <p:cSld name="1_Image &amp; Text 6">
    <p:bg>
      <p:bgPr>
        <a:solidFill>
          <a:schemeClr val="lt1"/>
        </a:solidFill>
        <a:effectLst/>
      </p:bgPr>
    </p:bg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21"/>
          <p:cNvSpPr txBox="1">
            <a:spLocks noGrp="1"/>
          </p:cNvSpPr>
          <p:nvPr>
            <p:ph type="body" idx="1"/>
          </p:nvPr>
        </p:nvSpPr>
        <p:spPr>
          <a:xfrm>
            <a:off x="6302479" y="2486641"/>
            <a:ext cx="5409452" cy="3606184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ctr" anchorCtr="0">
            <a:noAutofit/>
          </a:bodyPr>
          <a:lstStyle>
            <a:lvl1pPr marL="457200" lvl="0" indent="-3683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200"/>
              <a:buFont typeface="Arial"/>
              <a:buChar char="•"/>
              <a:defRPr sz="2200"/>
            </a:lvl1pPr>
            <a:lvl2pPr marL="914400" lvl="1" indent="-31432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350"/>
              <a:buChar char="o"/>
              <a:defRPr/>
            </a:lvl2pPr>
            <a:lvl3pPr marL="1371600" lvl="2" indent="-31432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350"/>
              <a:buChar char="▪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" name="Google Shape;34;p21"/>
          <p:cNvSpPr txBox="1">
            <a:spLocks noGrp="1"/>
          </p:cNvSpPr>
          <p:nvPr>
            <p:ph type="dt" idx="10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" name="Google Shape;35;p21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21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" name="Google Shape;37;p21"/>
          <p:cNvSpPr txBox="1">
            <a:spLocks noGrp="1"/>
          </p:cNvSpPr>
          <p:nvPr>
            <p:ph type="body" idx="2"/>
          </p:nvPr>
        </p:nvSpPr>
        <p:spPr>
          <a:xfrm>
            <a:off x="6302479" y="1447800"/>
            <a:ext cx="5409452" cy="1038840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 b="1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35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8" name="Google Shape;38;p21"/>
          <p:cNvSpPr>
            <a:spLocks noGrp="1"/>
          </p:cNvSpPr>
          <p:nvPr>
            <p:ph type="pic" idx="3"/>
          </p:nvPr>
        </p:nvSpPr>
        <p:spPr>
          <a:xfrm>
            <a:off x="468466" y="457199"/>
            <a:ext cx="5622453" cy="5622447"/>
          </a:xfrm>
          <a:prstGeom prst="roundRect">
            <a:avLst>
              <a:gd name="adj" fmla="val 10047"/>
            </a:avLst>
          </a:prstGeom>
          <a:solidFill>
            <a:schemeClr val="lt2"/>
          </a:solidFill>
          <a:ln>
            <a:noFill/>
          </a:ln>
        </p:spPr>
      </p:sp>
      <p:graphicFrame>
        <p:nvGraphicFramePr>
          <p:cNvPr id="39" name="Google Shape;39;p21"/>
          <p:cNvGraphicFramePr/>
          <p:nvPr/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8" imgH="1588" progId="TCLayout.ActiveDocument.1">
                  <p:embed/>
                </p:oleObj>
              </mc:Choice>
              <mc:Fallback>
                <p:oleObj r:id="rId2" imgW="1588" imgH="1588" progId="TCLayout.ActiveDocument.1">
                  <p:embed/>
                  <p:pic>
                    <p:nvPicPr>
                      <p:cNvPr id="39" name="Google Shape;39;p21"/>
                      <p:cNvPicPr preferRelativeResize="0"/>
                      <p:nvPr/>
                    </p:nvPicPr>
                    <p:blipFill rotWithShape="1">
                      <a:blip r:embed="rId3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Google Shape;40;p21"/>
          <p:cNvSpPr txBox="1">
            <a:spLocks noGrp="1"/>
          </p:cNvSpPr>
          <p:nvPr>
            <p:ph type="title"/>
          </p:nvPr>
        </p:nvSpPr>
        <p:spPr>
          <a:xfrm>
            <a:off x="6302479" y="383560"/>
            <a:ext cx="5432320" cy="1064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0000" tIns="91425" rIns="91425" bIns="91425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55320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">
  <p:cSld name="Custom Layout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2"/>
          <p:cNvSpPr txBox="1">
            <a:spLocks noGrp="1"/>
          </p:cNvSpPr>
          <p:nvPr>
            <p:ph type="title"/>
          </p:nvPr>
        </p:nvSpPr>
        <p:spPr>
          <a:xfrm>
            <a:off x="457200" y="358160"/>
            <a:ext cx="11277600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22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4" name="Google Shape;44;p22"/>
          <p:cNvSpPr txBox="1">
            <a:spLocks noGrp="1"/>
          </p:cNvSpPr>
          <p:nvPr>
            <p:ph type="body" idx="1"/>
          </p:nvPr>
        </p:nvSpPr>
        <p:spPr>
          <a:xfrm>
            <a:off x="609600" y="1759283"/>
            <a:ext cx="10972800" cy="44452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o"/>
              <a:defRPr>
                <a:solidFill>
                  <a:srgbClr val="3F3F3F"/>
                </a:solidFill>
              </a:defRPr>
            </a:lvl2pPr>
            <a:lvl3pPr marL="1371600" lvl="2" indent="-3238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▪"/>
              <a:defRPr>
                <a:solidFill>
                  <a:srgbClr val="595959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595959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595959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" name="Google Shape;45;p22"/>
          <p:cNvSpPr txBox="1">
            <a:spLocks noGrp="1"/>
          </p:cNvSpPr>
          <p:nvPr>
            <p:ph type="ftr" idx="11"/>
          </p:nvPr>
        </p:nvSpPr>
        <p:spPr>
          <a:xfrm>
            <a:off x="4165600" y="6490301"/>
            <a:ext cx="3860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1100">
                <a:solidFill>
                  <a:srgbClr val="005374"/>
                </a:solidFill>
                <a:latin typeface="Avenir"/>
                <a:ea typeface="Avenir"/>
                <a:cs typeface="Avenir"/>
                <a:sym typeface="Avenir"/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5851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ive Data 1">
  <p:cSld name="1_Live Data 1">
    <p:bg>
      <p:bgPr>
        <a:solidFill>
          <a:schemeClr val="lt1"/>
        </a:solidFill>
        <a:effectLst/>
      </p:bgPr>
    </p:bg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23"/>
          <p:cNvSpPr/>
          <p:nvPr/>
        </p:nvSpPr>
        <p:spPr>
          <a:xfrm>
            <a:off x="6942582" y="0"/>
            <a:ext cx="524941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48" name="Google Shape;48;p23"/>
          <p:cNvSpPr txBox="1">
            <a:spLocks noGrp="1"/>
          </p:cNvSpPr>
          <p:nvPr>
            <p:ph type="dt" idx="10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23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23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/>
            </a:lvl1pPr>
            <a:lvl2pPr marL="0" lvl="1" indent="0" algn="ctr">
              <a:spcBef>
                <a:spcPts val="0"/>
              </a:spcBef>
              <a:buNone/>
              <a:defRPr/>
            </a:lvl2pPr>
            <a:lvl3pPr marL="0" lvl="2" indent="0" algn="ctr">
              <a:spcBef>
                <a:spcPts val="0"/>
              </a:spcBef>
              <a:buNone/>
              <a:defRPr/>
            </a:lvl3pPr>
            <a:lvl4pPr marL="0" lvl="3" indent="0" algn="ctr">
              <a:spcBef>
                <a:spcPts val="0"/>
              </a:spcBef>
              <a:buNone/>
              <a:defRPr/>
            </a:lvl4pPr>
            <a:lvl5pPr marL="0" lvl="4" indent="0" algn="ctr">
              <a:spcBef>
                <a:spcPts val="0"/>
              </a:spcBef>
              <a:buNone/>
              <a:defRPr/>
            </a:lvl5pPr>
            <a:lvl6pPr marL="0" lvl="5" indent="0" algn="ctr">
              <a:spcBef>
                <a:spcPts val="0"/>
              </a:spcBef>
              <a:buNone/>
              <a:defRPr/>
            </a:lvl6pPr>
            <a:lvl7pPr marL="0" lvl="6" indent="0" algn="ctr">
              <a:spcBef>
                <a:spcPts val="0"/>
              </a:spcBef>
              <a:buNone/>
              <a:defRPr/>
            </a:lvl7pPr>
            <a:lvl8pPr marL="0" lvl="7" indent="0" algn="ctr">
              <a:spcBef>
                <a:spcPts val="0"/>
              </a:spcBef>
              <a:buNone/>
              <a:defRPr/>
            </a:lvl8pPr>
            <a:lvl9pPr marL="0" lvl="8" indent="0" algn="ctr">
              <a:spcBef>
                <a:spcPts val="0"/>
              </a:spcBef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1" name="Google Shape;51;p23"/>
          <p:cNvSpPr>
            <a:spLocks noGrp="1"/>
          </p:cNvSpPr>
          <p:nvPr>
            <p:ph type="chart" idx="2"/>
          </p:nvPr>
        </p:nvSpPr>
        <p:spPr>
          <a:xfrm>
            <a:off x="457199" y="457201"/>
            <a:ext cx="6028183" cy="5635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11880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ourier New"/>
              <a:buChar char="o"/>
              <a:defRPr sz="2400" b="0" i="0" u="none" strike="noStrike" cap="none">
                <a:solidFill>
                  <a:srgbClr val="3C3C3C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500"/>
              <a:buFont typeface="Noto Sans Symbols"/>
              <a:buChar char="▪"/>
              <a:defRPr sz="2000" b="0" i="0" u="none" strike="noStrike" cap="none">
                <a:solidFill>
                  <a:srgbClr val="00405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defRPr>
            </a:lvl9pPr>
          </a:lstStyle>
          <a:p>
            <a:endParaRPr/>
          </a:p>
        </p:txBody>
      </p:sp>
      <p:sp>
        <p:nvSpPr>
          <p:cNvPr id="52" name="Google Shape;52;p23"/>
          <p:cNvSpPr/>
          <p:nvPr/>
        </p:nvSpPr>
        <p:spPr>
          <a:xfrm>
            <a:off x="7965943" y="4163340"/>
            <a:ext cx="4226058" cy="2694660"/>
          </a:xfrm>
          <a:custGeom>
            <a:avLst/>
            <a:gdLst/>
            <a:ahLst/>
            <a:cxnLst/>
            <a:rect l="l" t="t" r="r" b="b"/>
            <a:pathLst>
              <a:path w="4226058" h="2694660" extrusionOk="0">
                <a:moveTo>
                  <a:pt x="1796222" y="1004"/>
                </a:moveTo>
                <a:cubicBezTo>
                  <a:pt x="1882159" y="-4760"/>
                  <a:pt x="1970681" y="14195"/>
                  <a:pt x="2050718" y="60788"/>
                </a:cubicBezTo>
                <a:lnTo>
                  <a:pt x="4226058" y="1327146"/>
                </a:lnTo>
                <a:lnTo>
                  <a:pt x="4226058" y="2694660"/>
                </a:lnTo>
                <a:lnTo>
                  <a:pt x="0" y="2694660"/>
                </a:lnTo>
                <a:lnTo>
                  <a:pt x="1439280" y="222275"/>
                </a:lnTo>
                <a:cubicBezTo>
                  <a:pt x="1516939" y="88877"/>
                  <a:pt x="1652992" y="10610"/>
                  <a:pt x="1796222" y="1004"/>
                </a:cubicBezTo>
                <a:close/>
              </a:path>
            </a:pathLst>
          </a:custGeom>
          <a:solidFill>
            <a:schemeClr val="accent1">
              <a:alpha val="14901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3" name="Google Shape;53;p23"/>
          <p:cNvSpPr txBox="1">
            <a:spLocks noGrp="1"/>
          </p:cNvSpPr>
          <p:nvPr>
            <p:ph type="body" idx="1"/>
          </p:nvPr>
        </p:nvSpPr>
        <p:spPr>
          <a:xfrm>
            <a:off x="7396163" y="2002515"/>
            <a:ext cx="4338637" cy="4099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1pPr>
            <a:lvl2pPr marL="914400" lvl="1" indent="-33337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  <a:defRPr sz="2200"/>
            </a:lvl2pPr>
            <a:lvl3pPr marL="1371600" lvl="2" indent="-333375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▪"/>
              <a:defRPr sz="2200"/>
            </a:lvl3pPr>
            <a:lvl4pPr marL="1828800" lvl="3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•"/>
              <a:defRPr sz="2200"/>
            </a:lvl4pPr>
            <a:lvl5pPr marL="2286000" lvl="4" indent="-3683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2200"/>
              <a:buChar char="•"/>
              <a:defRPr sz="22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23"/>
          <p:cNvSpPr txBox="1">
            <a:spLocks noGrp="1"/>
          </p:cNvSpPr>
          <p:nvPr>
            <p:ph type="title"/>
          </p:nvPr>
        </p:nvSpPr>
        <p:spPr>
          <a:xfrm>
            <a:off x="7396162" y="358160"/>
            <a:ext cx="4338637" cy="11023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1299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arge Image &amp; Text 1">
  <p:cSld name="1_Large Image &amp; Text 1">
    <p:bg>
      <p:bgPr>
        <a:solidFill>
          <a:schemeClr val="dk2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4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</p:sp>
      <p:sp>
        <p:nvSpPr>
          <p:cNvPr id="58" name="Google Shape;58;p24"/>
          <p:cNvSpPr txBox="1">
            <a:spLocks noGrp="1"/>
          </p:cNvSpPr>
          <p:nvPr>
            <p:ph type="dt" idx="10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4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lt1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4"/>
          <p:cNvSpPr txBox="1">
            <a:spLocks noGrp="1"/>
          </p:cNvSpPr>
          <p:nvPr>
            <p:ph type="body" idx="1"/>
          </p:nvPr>
        </p:nvSpPr>
        <p:spPr>
          <a:xfrm>
            <a:off x="6724649" y="800100"/>
            <a:ext cx="5010151" cy="18100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200"/>
              <a:buNone/>
              <a:defRPr sz="22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o"/>
              <a:defRPr>
                <a:solidFill>
                  <a:schemeClr val="lt1"/>
                </a:solidFill>
              </a:defRPr>
            </a:lvl2pPr>
            <a:lvl3pPr marL="1371600" lvl="2" indent="-3238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▪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" name="Google Shape;61;p24"/>
          <p:cNvSpPr txBox="1">
            <a:spLocks noGrp="1"/>
          </p:cNvSpPr>
          <p:nvPr>
            <p:ph type="body" idx="3"/>
          </p:nvPr>
        </p:nvSpPr>
        <p:spPr>
          <a:xfrm>
            <a:off x="6724649" y="2610197"/>
            <a:ext cx="5010151" cy="6177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o"/>
              <a:defRPr>
                <a:solidFill>
                  <a:schemeClr val="lt1"/>
                </a:solidFill>
              </a:defRPr>
            </a:lvl2pPr>
            <a:lvl3pPr marL="1371600" lvl="2" indent="-32385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▪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24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>
            <a:lvl1pPr marL="0" lvl="0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ctr">
              <a:spcBef>
                <a:spcPts val="0"/>
              </a:spcBef>
              <a:buNone/>
              <a:defRPr sz="10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63" name="Google Shape;63;p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722361" y="6294409"/>
            <a:ext cx="1012439" cy="4108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94790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3122EA-1779-00C8-840F-FB101E56D0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2978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3122EA-1779-00C8-840F-FB101E56D0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5C368CEE-E751-4BE4-74CF-27A47FDFB4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88547" y="2372783"/>
            <a:ext cx="4946252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1A839E2-2083-51A3-6D1E-23506CB0FA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88547" y="3548591"/>
            <a:ext cx="4946252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A54B016A-4C57-D7ED-94FF-247F0D8623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547" y="4724400"/>
            <a:ext cx="4946252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48011A9-1AF3-AB2F-E4F7-6F3BED06C1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88545" y="1196975"/>
            <a:ext cx="4946252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84241F-1505-D003-218A-3AF5A4B2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5E8F29-45D5-4905-9631-7725269CB11C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15D8229-8A40-0A52-C25B-825C75289C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A9442A-7A30-899E-0137-D8574CCF4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CE801BB-013A-E515-1D51-D446574FB00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55041" y="2372783"/>
            <a:ext cx="4946252" cy="936624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DDA249DE-F39E-D0E7-9800-A1758BB79A9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55041" y="3548591"/>
            <a:ext cx="4946252" cy="93662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AF9CC1FC-E123-3627-9D7C-30FB23FA92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5041" y="4724400"/>
            <a:ext cx="4946252" cy="936624"/>
          </a:xfrm>
          <a:solidFill>
            <a:schemeClr val="accent4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FB66098F-1C0C-388A-4A14-BB4D3BA9DC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55041" y="1196975"/>
            <a:ext cx="4946252" cy="936624"/>
          </a:xfrm>
          <a:solidFill>
            <a:schemeClr val="tx2"/>
          </a:solidFill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txBody>
          <a:bodyPr vert="horz" lIns="900000" tIns="72000" rIns="180000" bIns="72000" rtlCol="0" anchor="ctr" anchorCtr="0">
            <a:noAutofit/>
          </a:bodyPr>
          <a:lstStyle>
            <a:lvl1pPr marL="0" indent="0">
              <a:buNone/>
              <a:defRPr lang="en-US" sz="2200" dirty="0">
                <a:solidFill>
                  <a:schemeClr val="bg1"/>
                </a:solidFill>
              </a:defRPr>
            </a:lvl1pPr>
          </a:lstStyle>
          <a:p>
            <a:pPr marL="228600" lvl="0" indent="-228600">
              <a:spcBef>
                <a:spcPts val="0"/>
              </a:spcBef>
            </a:pPr>
            <a:r>
              <a:rPr lang="en-US"/>
              <a:t>Agenda content here.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4A914CA-34A0-5CCF-8942-4D02903ED7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graphicFrame>
        <p:nvGraphicFramePr>
          <p:cNvPr id="35" name="Object 34">
            <a:extLst>
              <a:ext uri="{FF2B5EF4-FFF2-40B4-BE49-F238E27FC236}">
                <a16:creationId xmlns:a16="http://schemas.microsoft.com/office/drawing/2014/main" id="{44E001EC-7EE6-98F5-5D54-018F505A66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3506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5" name="Object 34">
                        <a:extLst>
                          <a:ext uri="{FF2B5EF4-FFF2-40B4-BE49-F238E27FC236}">
                            <a16:creationId xmlns:a16="http://schemas.microsoft.com/office/drawing/2014/main" id="{44E001EC-7EE6-98F5-5D54-018F505A66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020E2A-11C0-BDDA-BBB2-F89B217C707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57200" y="1197287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3244AFE-7A2D-EC1B-BBCF-3C9BD7BB315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57200" y="2373095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9F098475-45B7-E9DF-DEEA-7928B8D8B2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7200" y="3548903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575CEC7-AF3C-89A6-AFEE-ACF6CA702D8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7200" y="4724712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65519D58-AEB7-9D2B-AEAD-6F30AFFD513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20545" y="1197287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BEBB42D6-E656-7FE4-212F-6267AE6E6A8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20545" y="2373095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74BB80C-6662-B20B-AFAE-8CE0227B9D5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20545" y="3548903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90C014B4-D61D-611F-A4FF-430ABD98617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20545" y="4724712"/>
            <a:ext cx="936000" cy="936000"/>
          </a:xfrm>
          <a:prstGeom prst="ellipse">
            <a:avLst/>
          </a:prstGeom>
          <a:solidFill>
            <a:schemeClr val="bg1"/>
          </a:solidFill>
          <a:effectLst>
            <a:outerShdw blurRad="127000" dist="38100" algn="l" rotWithShape="0">
              <a:prstClr val="black">
                <a:alpha val="15000"/>
              </a:prstClr>
            </a:outerShdw>
          </a:effectLst>
        </p:spPr>
        <p:txBody>
          <a:bodyPr wrap="none" lIns="36000" tIns="36000" rIns="36000" bIns="36000" anchor="ctr" anchorCtr="0"/>
          <a:lstStyle>
            <a:lvl1pPr marL="0" indent="0" algn="ctr">
              <a:spcBef>
                <a:spcPts val="0"/>
              </a:spcBef>
              <a:buNone/>
              <a:defRPr sz="18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0:00</a:t>
            </a:r>
            <a:br>
              <a:rPr lang="en-GB"/>
            </a:br>
            <a:r>
              <a:rPr lang="en-US"/>
              <a:t>am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782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D01D14-2621-FAA2-8456-FA75D5C3EA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6CD6EA-B4AA-E178-94CD-62F69047278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3200"/>
            </a:lvl1pPr>
            <a:lvl2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2800"/>
            </a:lvl2pPr>
            <a:lvl3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2400"/>
            </a:lvl3pPr>
            <a:lvl4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2000"/>
            </a:lvl4pPr>
            <a:lvl5pPr>
              <a:lnSpc>
                <a:spcPct val="105000"/>
              </a:lnSpc>
              <a:spcBef>
                <a:spcPts val="0"/>
              </a:spcBef>
              <a:spcAft>
                <a:spcPts val="1200"/>
              </a:spcAft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9AA159-3B9D-3211-4AA8-1B19F882B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BFE860-21FD-4DA0-9E9A-92548ED661C3}" type="datetime1">
              <a:rPr lang="en-US" smtClean="0"/>
              <a:t>2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B830FF-6C5F-2FD4-4E1E-7277A5D31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C1827B6-25B8-98D2-B1A3-97F9AD9A9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774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1209D4-078A-4AA5-8039-CAF02E6D6A01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607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CB07A97-2153-340C-3C56-95BEA8874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1264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CB07A97-2153-340C-3C56-95BEA8874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7DAF95A2-635F-6DDA-4091-0944F8CAB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4895" y="2598765"/>
            <a:ext cx="5404628" cy="3493770"/>
          </a:xfrm>
          <a:custGeom>
            <a:avLst/>
            <a:gdLst>
              <a:gd name="connsiteX0" fmla="*/ 0 w 5404628"/>
              <a:gd name="connsiteY0" fmla="*/ 0 h 3493770"/>
              <a:gd name="connsiteX1" fmla="*/ 5404628 w 5404628"/>
              <a:gd name="connsiteY1" fmla="*/ 0 h 3493770"/>
              <a:gd name="connsiteX2" fmla="*/ 5404628 w 5404628"/>
              <a:gd name="connsiteY2" fmla="*/ 3071509 h 3493770"/>
              <a:gd name="connsiteX3" fmla="*/ 4982367 w 5404628"/>
              <a:gd name="connsiteY3" fmla="*/ 3493770 h 3493770"/>
              <a:gd name="connsiteX4" fmla="*/ 422261 w 5404628"/>
              <a:gd name="connsiteY4" fmla="*/ 3493770 h 3493770"/>
              <a:gd name="connsiteX5" fmla="*/ 0 w 5404628"/>
              <a:gd name="connsiteY5" fmla="*/ 3071509 h 3493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4628" h="3493770">
                <a:moveTo>
                  <a:pt x="0" y="0"/>
                </a:moveTo>
                <a:lnTo>
                  <a:pt x="5404628" y="0"/>
                </a:lnTo>
                <a:lnTo>
                  <a:pt x="5404628" y="3071509"/>
                </a:lnTo>
                <a:cubicBezTo>
                  <a:pt x="5404628" y="3304717"/>
                  <a:pt x="5215575" y="3493770"/>
                  <a:pt x="4982367" y="3493770"/>
                </a:cubicBezTo>
                <a:lnTo>
                  <a:pt x="422261" y="3493770"/>
                </a:lnTo>
                <a:cubicBezTo>
                  <a:pt x="189053" y="3493770"/>
                  <a:pt x="0" y="3304717"/>
                  <a:pt x="0" y="3071509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180000" tIns="360000" rIns="180000" bIns="180000" anchor="t">
            <a:noAutofit/>
          </a:bodyPr>
          <a:lstStyle>
            <a:lvl1pPr>
              <a:spcBef>
                <a:spcPts val="1000"/>
              </a:spcBef>
              <a:buClr>
                <a:schemeClr val="accent3"/>
              </a:buClr>
              <a:defRPr sz="2400"/>
            </a:lvl1pPr>
            <a:lvl2pPr>
              <a:spcBef>
                <a:spcPts val="1000"/>
              </a:spcBef>
              <a:buClr>
                <a:schemeClr val="accent3"/>
              </a:buClr>
              <a:defRPr sz="2400"/>
            </a:lvl2pPr>
            <a:lvl3pPr>
              <a:spcBef>
                <a:spcPts val="1000"/>
              </a:spcBef>
              <a:buClr>
                <a:schemeClr val="accent3"/>
              </a:buClr>
              <a:defRPr sz="2400"/>
            </a:lvl3pPr>
            <a:lvl4pPr>
              <a:spcBef>
                <a:spcPts val="1000"/>
              </a:spcBef>
              <a:buClr>
                <a:schemeClr val="accent3"/>
              </a:buClr>
              <a:defRPr sz="2400"/>
            </a:lvl4pPr>
            <a:lvl5pPr>
              <a:spcBef>
                <a:spcPts val="1000"/>
              </a:spcBef>
              <a:buClr>
                <a:schemeClr val="accent3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75898194-73A1-CC87-2829-CDE6A5F40EE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2479" y="2598765"/>
            <a:ext cx="5409452" cy="3494060"/>
          </a:xfrm>
          <a:custGeom>
            <a:avLst/>
            <a:gdLst>
              <a:gd name="connsiteX0" fmla="*/ 0 w 5409452"/>
              <a:gd name="connsiteY0" fmla="*/ 0 h 3494060"/>
              <a:gd name="connsiteX1" fmla="*/ 5409452 w 5409452"/>
              <a:gd name="connsiteY1" fmla="*/ 0 h 3494060"/>
              <a:gd name="connsiteX2" fmla="*/ 5409452 w 5409452"/>
              <a:gd name="connsiteY2" fmla="*/ 3081526 h 3494060"/>
              <a:gd name="connsiteX3" fmla="*/ 4996918 w 5409452"/>
              <a:gd name="connsiteY3" fmla="*/ 3494060 h 3494060"/>
              <a:gd name="connsiteX4" fmla="*/ 412534 w 5409452"/>
              <a:gd name="connsiteY4" fmla="*/ 3494060 h 3494060"/>
              <a:gd name="connsiteX5" fmla="*/ 0 w 5409452"/>
              <a:gd name="connsiteY5" fmla="*/ 3081526 h 3494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9452" h="3494060">
                <a:moveTo>
                  <a:pt x="0" y="0"/>
                </a:moveTo>
                <a:lnTo>
                  <a:pt x="5409452" y="0"/>
                </a:lnTo>
                <a:lnTo>
                  <a:pt x="5409452" y="3081526"/>
                </a:lnTo>
                <a:cubicBezTo>
                  <a:pt x="5409452" y="3309362"/>
                  <a:pt x="5224754" y="3494060"/>
                  <a:pt x="4996918" y="3494060"/>
                </a:cubicBezTo>
                <a:lnTo>
                  <a:pt x="412534" y="3494060"/>
                </a:lnTo>
                <a:cubicBezTo>
                  <a:pt x="184698" y="3494060"/>
                  <a:pt x="0" y="3309362"/>
                  <a:pt x="0" y="3081526"/>
                </a:cubicBezTo>
                <a:close/>
              </a:path>
            </a:pathLst>
          </a:custGeom>
          <a:solidFill>
            <a:schemeClr val="bg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wrap="square" lIns="180000" tIns="360000" rIns="180000" bIns="180000" anchor="t">
            <a:noAutofit/>
          </a:bodyPr>
          <a:lstStyle>
            <a:lvl1pPr>
              <a:spcBef>
                <a:spcPts val="1000"/>
              </a:spcBef>
              <a:defRPr sz="2400"/>
            </a:lvl1pPr>
            <a:lvl2pPr>
              <a:spcBef>
                <a:spcPts val="1000"/>
              </a:spcBef>
              <a:defRPr sz="2400"/>
            </a:lvl2pPr>
            <a:lvl3pPr>
              <a:spcBef>
                <a:spcPts val="1000"/>
              </a:spcBef>
              <a:defRPr sz="2400"/>
            </a:lvl3pPr>
            <a:lvl4pPr>
              <a:spcBef>
                <a:spcPts val="1000"/>
              </a:spcBef>
              <a:defRPr sz="2400"/>
            </a:lvl4pPr>
            <a:lvl5pPr>
              <a:spcBef>
                <a:spcPts val="1000"/>
              </a:spcBef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5A10C88-493B-6CAB-298F-D8121000C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7BFBBC-57B3-446A-8796-3A0B205B2B27}" type="datetime1">
              <a:rPr lang="en-US" smtClean="0"/>
              <a:t>2/12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915E7-3CAF-308C-4138-B2172BA981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8DEE14A-07CA-1EEE-93A5-15EEACBE5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2553464D-8B5E-F3D9-4410-4277969170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B5E302-C0B7-5A31-3641-74A384120E1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84895" y="1211151"/>
            <a:ext cx="5404628" cy="1387614"/>
          </a:xfrm>
          <a:solidFill>
            <a:schemeClr val="accent3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45D118-3439-524A-149A-31A77A527F02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02479" y="1200533"/>
            <a:ext cx="5409452" cy="1398232"/>
          </a:xfrm>
          <a:solidFill>
            <a:schemeClr val="accent1"/>
          </a:solidFill>
          <a:effectLst>
            <a:outerShdw blurRad="127000" sx="102000" sy="102000" algn="ctr" rotWithShape="0">
              <a:prstClr val="black">
                <a:alpha val="10000"/>
              </a:prstClr>
            </a:outerShdw>
          </a:effectLst>
        </p:spPr>
        <p:txBody>
          <a:bodyPr lIns="180000" tIns="180000" rIns="180000" bIns="180000" anchor="ctr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add subtitle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>
            <a:extLst>
              <a:ext uri="{FF2B5EF4-FFF2-40B4-BE49-F238E27FC236}">
                <a16:creationId xmlns:a16="http://schemas.microsoft.com/office/drawing/2014/main" id="{354849FB-7880-754B-B1A2-A01EBF94B4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3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3" name="Object 32" hidden="1">
                        <a:extLst>
                          <a:ext uri="{FF2B5EF4-FFF2-40B4-BE49-F238E27FC236}">
                            <a16:creationId xmlns:a16="http://schemas.microsoft.com/office/drawing/2014/main" id="{354849FB-7880-754B-B1A2-A01EBF94B4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A68AF4-B91E-4F8A-B832-7605C397C571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39A2EA8D-1766-E50B-8696-368C1D93B722}"/>
              </a:ext>
            </a:extLst>
          </p:cNvPr>
          <p:cNvSpPr/>
          <p:nvPr userDrawn="1"/>
        </p:nvSpPr>
        <p:spPr>
          <a:xfrm>
            <a:off x="457200" y="1196975"/>
            <a:ext cx="3519310" cy="4895849"/>
          </a:xfrm>
          <a:prstGeom prst="round2SameRect">
            <a:avLst>
              <a:gd name="adj1" fmla="val 0"/>
              <a:gd name="adj2" fmla="val 10337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: Top Corners Rounded 8">
            <a:extLst>
              <a:ext uri="{FF2B5EF4-FFF2-40B4-BE49-F238E27FC236}">
                <a16:creationId xmlns:a16="http://schemas.microsoft.com/office/drawing/2014/main" id="{A425AD10-227B-8E04-8A8D-B0739173729D}"/>
              </a:ext>
            </a:extLst>
          </p:cNvPr>
          <p:cNvSpPr>
            <a:spLocks/>
          </p:cNvSpPr>
          <p:nvPr/>
        </p:nvSpPr>
        <p:spPr>
          <a:xfrm>
            <a:off x="4336344" y="1194017"/>
            <a:ext cx="3519310" cy="4898875"/>
          </a:xfrm>
          <a:prstGeom prst="round2SameRect">
            <a:avLst>
              <a:gd name="adj1" fmla="val 0"/>
              <a:gd name="adj2" fmla="val 10896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: Top Corners Rounded 9">
            <a:extLst>
              <a:ext uri="{FF2B5EF4-FFF2-40B4-BE49-F238E27FC236}">
                <a16:creationId xmlns:a16="http://schemas.microsoft.com/office/drawing/2014/main" id="{7B056210-DB66-55B3-1A4A-3BCBC562C14B}"/>
              </a:ext>
            </a:extLst>
          </p:cNvPr>
          <p:cNvSpPr>
            <a:spLocks/>
          </p:cNvSpPr>
          <p:nvPr/>
        </p:nvSpPr>
        <p:spPr>
          <a:xfrm>
            <a:off x="8215489" y="1196975"/>
            <a:ext cx="3519310" cy="4895849"/>
          </a:xfrm>
          <a:prstGeom prst="round2SameRect">
            <a:avLst>
              <a:gd name="adj1" fmla="val 0"/>
              <a:gd name="adj2" fmla="val 9778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A2FCF950-4CCB-0347-EF69-BB858B145DEB}"/>
              </a:ext>
            </a:extLst>
          </p:cNvPr>
          <p:cNvGrpSpPr/>
          <p:nvPr/>
        </p:nvGrpSpPr>
        <p:grpSpPr>
          <a:xfrm>
            <a:off x="626560" y="769621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871F47F-5158-3FE0-79DA-37B148B0B1ED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15DBBD0B-CA2C-D826-645F-E1EDD7AD23D7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8CB18EA-79DF-AF8A-97E3-9265EF03EAC6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0F0287F-2833-16C0-91B6-054563104BD8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1A0D784-F128-E8B6-45BC-A86BC363E4E7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7500270-7B64-78E1-F7BF-19F85C7B3826}"/>
              </a:ext>
            </a:extLst>
          </p:cNvPr>
          <p:cNvGrpSpPr/>
          <p:nvPr/>
        </p:nvGrpSpPr>
        <p:grpSpPr>
          <a:xfrm>
            <a:off x="4505704" y="762150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1646F36-6AFB-5C39-7ADF-989EBD05691E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EA37A41-4F6B-CFC6-13C2-46BB5A1CFC44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DE9A3A56-D1D8-7EFA-EFFA-8669790F7B9D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8FF24C39-F8AF-EF5A-BAC1-F33676EA20DB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9D2881E8-ECA8-343D-1A8E-D8425FD9C4EC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3E9CB13-E5BD-75D0-4B11-B298E424040E}"/>
              </a:ext>
            </a:extLst>
          </p:cNvPr>
          <p:cNvGrpSpPr/>
          <p:nvPr/>
        </p:nvGrpSpPr>
        <p:grpSpPr>
          <a:xfrm>
            <a:off x="8384850" y="769620"/>
            <a:ext cx="3180589" cy="1662581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2D221A5-D2FE-5EEC-BBA4-5CDFCE5B76DB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188C425-746E-CBF8-CD22-DA4F1662334B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46A2352-05BF-19F9-18D3-76D1A0EA283E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E574C3-2BCE-A362-669E-BFD6B00D8BCD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24BC7484-0ED2-5E84-3C7F-1189F7F9CFE8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F5986-85EB-DF07-26FC-1D6ED8DC4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7451" y="3052861"/>
            <a:ext cx="3058808" cy="2808287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53DEBAC-5F84-D841-03C0-2633BEAF0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66595" y="3052861"/>
            <a:ext cx="3058808" cy="2808287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8B960CD-03E0-5713-D335-B07A069426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35094" y="3050169"/>
            <a:ext cx="3069454" cy="2810980"/>
          </a:xfrm>
        </p:spPr>
        <p:txBody>
          <a:bodyPr anchor="ctr"/>
          <a:lstStyle>
            <a:lvl1pPr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24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20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F745E8E-305A-258F-A772-89238F000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7451" y="1437855"/>
            <a:ext cx="3069447" cy="1379001"/>
          </a:xfrm>
        </p:spPr>
        <p:txBody>
          <a:bodyPr lIns="72000" anchor="ctr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65AE713-64A0-62C5-9B25-B3188627E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0998" y="1429587"/>
            <a:ext cx="3069447" cy="1387969"/>
          </a:xfrm>
        </p:spPr>
        <p:txBody>
          <a:bodyPr lIns="72000" anchor="ctr" anchorCtr="0"/>
          <a:lstStyle>
            <a:lvl1pPr marL="0" indent="0" algn="ctr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17EB06B-0024-06D0-ADF8-A2474B8CC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35094" y="1429587"/>
            <a:ext cx="3069447" cy="1387969"/>
          </a:xfrm>
        </p:spPr>
        <p:txBody>
          <a:bodyPr lIns="72000" anchor="ctr" anchorCtr="0"/>
          <a:lstStyle>
            <a:lvl1pPr marL="0" indent="0" algn="ctr" rtl="0">
              <a:spcBef>
                <a:spcPts val="0"/>
              </a:spcBef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stay within the text box.</a:t>
            </a:r>
          </a:p>
        </p:txBody>
      </p:sp>
      <p:graphicFrame>
        <p:nvGraphicFramePr>
          <p:cNvPr id="35" name="Object 34" hidden="1">
            <a:extLst>
              <a:ext uri="{FF2B5EF4-FFF2-40B4-BE49-F238E27FC236}">
                <a16:creationId xmlns:a16="http://schemas.microsoft.com/office/drawing/2014/main" id="{978FE9BC-D6D0-FF29-76D4-C4241B770A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2030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35" name="Object 34" hidden="1">
                        <a:extLst>
                          <a:ext uri="{FF2B5EF4-FFF2-40B4-BE49-F238E27FC236}">
                            <a16:creationId xmlns:a16="http://schemas.microsoft.com/office/drawing/2014/main" id="{978FE9BC-D6D0-FF29-76D4-C4241B770A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19996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Top Corners Rounded 34">
            <a:extLst>
              <a:ext uri="{FF2B5EF4-FFF2-40B4-BE49-F238E27FC236}">
                <a16:creationId xmlns:a16="http://schemas.microsoft.com/office/drawing/2014/main" id="{D9DBEB03-B3B9-8BA1-DF6C-D87168734A96}"/>
              </a:ext>
            </a:extLst>
          </p:cNvPr>
          <p:cNvSpPr/>
          <p:nvPr/>
        </p:nvSpPr>
        <p:spPr>
          <a:xfrm>
            <a:off x="457200" y="1188377"/>
            <a:ext cx="2727091" cy="4904448"/>
          </a:xfrm>
          <a:prstGeom prst="round2SameRect">
            <a:avLst>
              <a:gd name="adj1" fmla="val 2245"/>
              <a:gd name="adj2" fmla="val 11069"/>
            </a:avLst>
          </a:prstGeom>
          <a:solidFill>
            <a:schemeClr val="tx2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Top Corners Rounded 35">
            <a:extLst>
              <a:ext uri="{FF2B5EF4-FFF2-40B4-BE49-F238E27FC236}">
                <a16:creationId xmlns:a16="http://schemas.microsoft.com/office/drawing/2014/main" id="{18C2826F-0757-47CA-6AD9-B8B9B5E69890}"/>
              </a:ext>
            </a:extLst>
          </p:cNvPr>
          <p:cNvSpPr>
            <a:spLocks/>
          </p:cNvSpPr>
          <p:nvPr/>
        </p:nvSpPr>
        <p:spPr>
          <a:xfrm>
            <a:off x="3303660" y="1188377"/>
            <a:ext cx="2727091" cy="4904448"/>
          </a:xfrm>
          <a:prstGeom prst="round2SameRect">
            <a:avLst>
              <a:gd name="adj1" fmla="val 0"/>
              <a:gd name="adj2" fmla="val 10338"/>
            </a:avLst>
          </a:prstGeom>
          <a:solidFill>
            <a:schemeClr val="accent1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Top Corners Rounded 38">
            <a:extLst>
              <a:ext uri="{FF2B5EF4-FFF2-40B4-BE49-F238E27FC236}">
                <a16:creationId xmlns:a16="http://schemas.microsoft.com/office/drawing/2014/main" id="{11C729C8-9521-FC15-6909-AA67737D4CDC}"/>
              </a:ext>
            </a:extLst>
          </p:cNvPr>
          <p:cNvSpPr>
            <a:spLocks/>
          </p:cNvSpPr>
          <p:nvPr/>
        </p:nvSpPr>
        <p:spPr>
          <a:xfrm>
            <a:off x="6150120" y="1188377"/>
            <a:ext cx="2727091" cy="4904448"/>
          </a:xfrm>
          <a:prstGeom prst="round2SameRect">
            <a:avLst>
              <a:gd name="adj1" fmla="val 0"/>
              <a:gd name="adj2" fmla="val 10804"/>
            </a:avLst>
          </a:prstGeom>
          <a:solidFill>
            <a:schemeClr val="accent3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23CFA15-26AF-0F91-96B9-CC62BD69083B}"/>
              </a:ext>
            </a:extLst>
          </p:cNvPr>
          <p:cNvGrpSpPr/>
          <p:nvPr/>
        </p:nvGrpSpPr>
        <p:grpSpPr>
          <a:xfrm>
            <a:off x="64501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F4E91725-B867-3418-E53D-33C665B47E14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A65CC5B5-FED1-6585-A8DB-6A78E9A040FD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F9EB378-1372-BB1A-036F-31C44DDC33F1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55043A50-B38D-7227-ECD9-5589FF0D78B2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E32C587-9027-6896-F784-480501623D30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8C7A8FDA-AB0E-F721-FE99-D6F7EA43E8F9}"/>
              </a:ext>
            </a:extLst>
          </p:cNvPr>
          <p:cNvGrpSpPr/>
          <p:nvPr/>
        </p:nvGrpSpPr>
        <p:grpSpPr>
          <a:xfrm>
            <a:off x="349147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241EF789-EFAD-A2A5-451F-A127954C1BEF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A82C49BE-CA3F-AEDA-5373-1D8C2ED6D732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A32A27C6-66B5-624E-9547-74B602A100E6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3F1A11C1-00AF-4B07-4696-BD51A46162ED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5126FF4-767B-89D5-9C3A-682E9DC07B65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799616B-FDC8-73F9-AAB9-B097532EF8DE}"/>
              </a:ext>
            </a:extLst>
          </p:cNvPr>
          <p:cNvGrpSpPr/>
          <p:nvPr/>
        </p:nvGrpSpPr>
        <p:grpSpPr>
          <a:xfrm>
            <a:off x="633793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F0F8EFC-D5B2-D830-ACB2-6744C96CA451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908C9AF-CE8C-D688-D1A1-A4652D8CD4FD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006C3E78-9DB7-913D-0425-AFDE7D4CBBF0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5E88D2DA-35BE-633D-0E62-4473A18FB2C1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DE140BF-8F42-0F58-6761-26A433E05669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8" name="Rectangle: Top Corners Rounded 57">
            <a:extLst>
              <a:ext uri="{FF2B5EF4-FFF2-40B4-BE49-F238E27FC236}">
                <a16:creationId xmlns:a16="http://schemas.microsoft.com/office/drawing/2014/main" id="{84E08997-BC6B-5755-6492-0F4DB09DB316}"/>
              </a:ext>
            </a:extLst>
          </p:cNvPr>
          <p:cNvSpPr>
            <a:spLocks/>
          </p:cNvSpPr>
          <p:nvPr/>
        </p:nvSpPr>
        <p:spPr>
          <a:xfrm>
            <a:off x="8996580" y="1188377"/>
            <a:ext cx="2727091" cy="4904448"/>
          </a:xfrm>
          <a:prstGeom prst="round2SameRect">
            <a:avLst>
              <a:gd name="adj1" fmla="val 0"/>
              <a:gd name="adj2" fmla="val 10618"/>
            </a:avLst>
          </a:prstGeom>
          <a:solidFill>
            <a:schemeClr val="accent4"/>
          </a:solidFill>
          <a:ln>
            <a:noFill/>
          </a:ln>
          <a:effectLst>
            <a:outerShdw blurRad="1270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E4A58BE3-D749-2953-966F-68450758825B}"/>
              </a:ext>
            </a:extLst>
          </p:cNvPr>
          <p:cNvGrpSpPr/>
          <p:nvPr/>
        </p:nvGrpSpPr>
        <p:grpSpPr>
          <a:xfrm>
            <a:off x="9184396" y="870120"/>
            <a:ext cx="2351459" cy="1229172"/>
            <a:chOff x="2800469" y="-917156"/>
            <a:chExt cx="6696862" cy="3500633"/>
          </a:xfrm>
          <a:solidFill>
            <a:schemeClr val="bg1">
              <a:alpha val="10000"/>
            </a:schemeClr>
          </a:solidFill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F761E687-0C48-7B2C-2946-761FFD9E3346}"/>
                </a:ext>
              </a:extLst>
            </p:cNvPr>
            <p:cNvSpPr/>
            <p:nvPr/>
          </p:nvSpPr>
          <p:spPr>
            <a:xfrm rot="18900000" flipV="1">
              <a:off x="5996698" y="-131829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7CFDEA5-5D33-954A-4216-A0E0192145A9}"/>
                </a:ext>
              </a:extLst>
            </p:cNvPr>
            <p:cNvSpPr/>
            <p:nvPr/>
          </p:nvSpPr>
          <p:spPr>
            <a:xfrm rot="2700000" flipH="1" flipV="1">
              <a:off x="2694665" y="-131828"/>
              <a:ext cx="3500633" cy="1929978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92B1BD2D-A908-54C9-89C2-BCCF6A3BD5FF}"/>
                </a:ext>
              </a:extLst>
            </p:cNvPr>
            <p:cNvSpPr/>
            <p:nvPr/>
          </p:nvSpPr>
          <p:spPr>
            <a:xfrm rot="5400000">
              <a:off x="8254363" y="-203062"/>
              <a:ext cx="934098" cy="1340225"/>
            </a:xfrm>
            <a:custGeom>
              <a:avLst/>
              <a:gdLst>
                <a:gd name="connsiteX0" fmla="*/ 0 w 934098"/>
                <a:gd name="connsiteY0" fmla="*/ 1340225 h 1340225"/>
                <a:gd name="connsiteX1" fmla="*/ 0 w 934098"/>
                <a:gd name="connsiteY1" fmla="*/ 7558 h 1340225"/>
                <a:gd name="connsiteX2" fmla="*/ 78864 w 934098"/>
                <a:gd name="connsiteY2" fmla="*/ 0 h 1340225"/>
                <a:gd name="connsiteX3" fmla="*/ 871534 w 934098"/>
                <a:gd name="connsiteY3" fmla="*/ 328335 h 1340225"/>
                <a:gd name="connsiteX4" fmla="*/ 934098 w 934098"/>
                <a:gd name="connsiteY4" fmla="*/ 390899 h 1340225"/>
                <a:gd name="connsiteX5" fmla="*/ 934098 w 934098"/>
                <a:gd name="connsiteY5" fmla="*/ 406126 h 134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098" h="1340225">
                  <a:moveTo>
                    <a:pt x="0" y="1340225"/>
                  </a:moveTo>
                  <a:lnTo>
                    <a:pt x="0" y="7558"/>
                  </a:lnTo>
                  <a:lnTo>
                    <a:pt x="78864" y="0"/>
                  </a:lnTo>
                  <a:cubicBezTo>
                    <a:pt x="365754" y="0"/>
                    <a:pt x="652644" y="109443"/>
                    <a:pt x="871534" y="328335"/>
                  </a:cubicBezTo>
                  <a:lnTo>
                    <a:pt x="934098" y="390899"/>
                  </a:lnTo>
                  <a:lnTo>
                    <a:pt x="934098" y="406126"/>
                  </a:ln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417D789-5D59-96B4-8F04-FA1DD72D85B5}"/>
                </a:ext>
              </a:extLst>
            </p:cNvPr>
            <p:cNvSpPr/>
            <p:nvPr/>
          </p:nvSpPr>
          <p:spPr>
            <a:xfrm rot="10800000">
              <a:off x="4345091" y="556154"/>
              <a:ext cx="3500635" cy="1929977"/>
            </a:xfrm>
            <a:custGeom>
              <a:avLst/>
              <a:gdLst>
                <a:gd name="connsiteX0" fmla="*/ 987509 w 1975017"/>
                <a:gd name="connsiteY0" fmla="*/ 243023 h 1088871"/>
                <a:gd name="connsiteX1" fmla="*/ 987507 w 1975017"/>
                <a:gd name="connsiteY1" fmla="*/ 243024 h 1088871"/>
                <a:gd name="connsiteX2" fmla="*/ 987509 w 1975017"/>
                <a:gd name="connsiteY2" fmla="*/ 243026 h 1088871"/>
                <a:gd name="connsiteX3" fmla="*/ 987510 w 1975017"/>
                <a:gd name="connsiteY3" fmla="*/ 243024 h 1088871"/>
                <a:gd name="connsiteX4" fmla="*/ 482513 w 1975017"/>
                <a:gd name="connsiteY4" fmla="*/ 0 h 1088871"/>
                <a:gd name="connsiteX5" fmla="*/ 551126 w 1975017"/>
                <a:gd name="connsiteY5" fmla="*/ 6576 h 1088871"/>
                <a:gd name="connsiteX6" fmla="*/ 551126 w 1975017"/>
                <a:gd name="connsiteY6" fmla="*/ 6578 h 1088871"/>
                <a:gd name="connsiteX7" fmla="*/ 556951 w 1975017"/>
                <a:gd name="connsiteY7" fmla="*/ 7137 h 1088871"/>
                <a:gd name="connsiteX8" fmla="*/ 591699 w 1975017"/>
                <a:gd name="connsiteY8" fmla="*/ 41885 h 1088871"/>
                <a:gd name="connsiteX9" fmla="*/ 868954 w 1975017"/>
                <a:gd name="connsiteY9" fmla="*/ 189393 h 1088871"/>
                <a:gd name="connsiteX10" fmla="*/ 940759 w 1975017"/>
                <a:gd name="connsiteY10" fmla="*/ 196275 h 1088871"/>
                <a:gd name="connsiteX11" fmla="*/ 985267 w 1975017"/>
                <a:gd name="connsiteY11" fmla="*/ 240784 h 1088871"/>
                <a:gd name="connsiteX12" fmla="*/ 985267 w 1975017"/>
                <a:gd name="connsiteY12" fmla="*/ 240781 h 1088871"/>
                <a:gd name="connsiteX13" fmla="*/ 940759 w 1975017"/>
                <a:gd name="connsiteY13" fmla="*/ 196273 h 1088871"/>
                <a:gd name="connsiteX14" fmla="*/ 971557 w 1975017"/>
                <a:gd name="connsiteY14" fmla="*/ 199226 h 1088871"/>
                <a:gd name="connsiteX15" fmla="*/ 985267 w 1975017"/>
                <a:gd name="connsiteY15" fmla="*/ 197912 h 1088871"/>
                <a:gd name="connsiteX16" fmla="*/ 985267 w 1975017"/>
                <a:gd name="connsiteY16" fmla="*/ 197482 h 1088871"/>
                <a:gd name="connsiteX17" fmla="*/ 987509 w 1975017"/>
                <a:gd name="connsiteY17" fmla="*/ 197697 h 1088871"/>
                <a:gd name="connsiteX18" fmla="*/ 989750 w 1975017"/>
                <a:gd name="connsiteY18" fmla="*/ 197482 h 1088871"/>
                <a:gd name="connsiteX19" fmla="*/ 989750 w 1975017"/>
                <a:gd name="connsiteY19" fmla="*/ 197912 h 1088871"/>
                <a:gd name="connsiteX20" fmla="*/ 1003460 w 1975017"/>
                <a:gd name="connsiteY20" fmla="*/ 199226 h 1088871"/>
                <a:gd name="connsiteX21" fmla="*/ 1034258 w 1975017"/>
                <a:gd name="connsiteY21" fmla="*/ 196273 h 1088871"/>
                <a:gd name="connsiteX22" fmla="*/ 989750 w 1975017"/>
                <a:gd name="connsiteY22" fmla="*/ 240781 h 1088871"/>
                <a:gd name="connsiteX23" fmla="*/ 989750 w 1975017"/>
                <a:gd name="connsiteY23" fmla="*/ 240784 h 1088871"/>
                <a:gd name="connsiteX24" fmla="*/ 1034258 w 1975017"/>
                <a:gd name="connsiteY24" fmla="*/ 196275 h 1088871"/>
                <a:gd name="connsiteX25" fmla="*/ 1106063 w 1975017"/>
                <a:gd name="connsiteY25" fmla="*/ 189393 h 1088871"/>
                <a:gd name="connsiteX26" fmla="*/ 1383318 w 1975017"/>
                <a:gd name="connsiteY26" fmla="*/ 41885 h 1088871"/>
                <a:gd name="connsiteX27" fmla="*/ 1418066 w 1975017"/>
                <a:gd name="connsiteY27" fmla="*/ 7137 h 1088871"/>
                <a:gd name="connsiteX28" fmla="*/ 1423891 w 1975017"/>
                <a:gd name="connsiteY28" fmla="*/ 6578 h 1088871"/>
                <a:gd name="connsiteX29" fmla="*/ 1423891 w 1975017"/>
                <a:gd name="connsiteY29" fmla="*/ 6576 h 1088871"/>
                <a:gd name="connsiteX30" fmla="*/ 1492504 w 1975017"/>
                <a:gd name="connsiteY30" fmla="*/ 0 h 1088871"/>
                <a:gd name="connsiteX31" fmla="*/ 1939719 w 1975017"/>
                <a:gd name="connsiteY31" fmla="*/ 185243 h 1088871"/>
                <a:gd name="connsiteX32" fmla="*/ 1975017 w 1975017"/>
                <a:gd name="connsiteY32" fmla="*/ 220541 h 1088871"/>
                <a:gd name="connsiteX33" fmla="*/ 1975017 w 1975017"/>
                <a:gd name="connsiteY33" fmla="*/ 229132 h 1088871"/>
                <a:gd name="connsiteX34" fmla="*/ 1423892 w 1975017"/>
                <a:gd name="connsiteY34" fmla="*/ 780257 h 1088871"/>
                <a:gd name="connsiteX35" fmla="*/ 1423892 w 1975017"/>
                <a:gd name="connsiteY35" fmla="*/ 780260 h 1088871"/>
                <a:gd name="connsiteX36" fmla="*/ 1194513 w 1975017"/>
                <a:gd name="connsiteY36" fmla="*/ 1009639 h 1088871"/>
                <a:gd name="connsiteX37" fmla="*/ 1003230 w 1975017"/>
                <a:gd name="connsiteY37" fmla="*/ 1088871 h 1088871"/>
                <a:gd name="connsiteX38" fmla="*/ 987509 w 1975017"/>
                <a:gd name="connsiteY38" fmla="*/ 1087364 h 1088871"/>
                <a:gd name="connsiteX39" fmla="*/ 971787 w 1975017"/>
                <a:gd name="connsiteY39" fmla="*/ 1088871 h 1088871"/>
                <a:gd name="connsiteX40" fmla="*/ 780504 w 1975017"/>
                <a:gd name="connsiteY40" fmla="*/ 1009639 h 1088871"/>
                <a:gd name="connsiteX41" fmla="*/ 551125 w 1975017"/>
                <a:gd name="connsiteY41" fmla="*/ 780260 h 1088871"/>
                <a:gd name="connsiteX42" fmla="*/ 551125 w 1975017"/>
                <a:gd name="connsiteY42" fmla="*/ 780257 h 1088871"/>
                <a:gd name="connsiteX43" fmla="*/ 0 w 1975017"/>
                <a:gd name="connsiteY43" fmla="*/ 229132 h 1088871"/>
                <a:gd name="connsiteX44" fmla="*/ 0 w 1975017"/>
                <a:gd name="connsiteY44" fmla="*/ 220541 h 1088871"/>
                <a:gd name="connsiteX45" fmla="*/ 35298 w 1975017"/>
                <a:gd name="connsiteY45" fmla="*/ 185243 h 1088871"/>
                <a:gd name="connsiteX46" fmla="*/ 482513 w 1975017"/>
                <a:gd name="connsiteY46" fmla="*/ 0 h 1088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1975017" h="1088871">
                  <a:moveTo>
                    <a:pt x="987509" y="243023"/>
                  </a:moveTo>
                  <a:lnTo>
                    <a:pt x="987507" y="243024"/>
                  </a:lnTo>
                  <a:lnTo>
                    <a:pt x="987509" y="243026"/>
                  </a:lnTo>
                  <a:lnTo>
                    <a:pt x="987510" y="243024"/>
                  </a:lnTo>
                  <a:close/>
                  <a:moveTo>
                    <a:pt x="482513" y="0"/>
                  </a:moveTo>
                  <a:lnTo>
                    <a:pt x="551126" y="6576"/>
                  </a:lnTo>
                  <a:lnTo>
                    <a:pt x="551126" y="6578"/>
                  </a:lnTo>
                  <a:lnTo>
                    <a:pt x="556951" y="7137"/>
                  </a:lnTo>
                  <a:lnTo>
                    <a:pt x="591699" y="41885"/>
                  </a:lnTo>
                  <a:cubicBezTo>
                    <a:pt x="670370" y="120556"/>
                    <a:pt x="767371" y="169725"/>
                    <a:pt x="868954" y="189393"/>
                  </a:cubicBezTo>
                  <a:lnTo>
                    <a:pt x="940759" y="196275"/>
                  </a:lnTo>
                  <a:lnTo>
                    <a:pt x="985267" y="240784"/>
                  </a:lnTo>
                  <a:lnTo>
                    <a:pt x="985267" y="240781"/>
                  </a:lnTo>
                  <a:lnTo>
                    <a:pt x="940759" y="196273"/>
                  </a:lnTo>
                  <a:lnTo>
                    <a:pt x="971557" y="199226"/>
                  </a:lnTo>
                  <a:lnTo>
                    <a:pt x="985267" y="197912"/>
                  </a:lnTo>
                  <a:lnTo>
                    <a:pt x="985267" y="197482"/>
                  </a:lnTo>
                  <a:lnTo>
                    <a:pt x="987509" y="197697"/>
                  </a:lnTo>
                  <a:lnTo>
                    <a:pt x="989750" y="197482"/>
                  </a:lnTo>
                  <a:lnTo>
                    <a:pt x="989750" y="197912"/>
                  </a:lnTo>
                  <a:lnTo>
                    <a:pt x="1003460" y="199226"/>
                  </a:lnTo>
                  <a:lnTo>
                    <a:pt x="1034258" y="196273"/>
                  </a:lnTo>
                  <a:lnTo>
                    <a:pt x="989750" y="240781"/>
                  </a:lnTo>
                  <a:lnTo>
                    <a:pt x="989750" y="240784"/>
                  </a:lnTo>
                  <a:lnTo>
                    <a:pt x="1034258" y="196275"/>
                  </a:lnTo>
                  <a:lnTo>
                    <a:pt x="1106063" y="189393"/>
                  </a:lnTo>
                  <a:cubicBezTo>
                    <a:pt x="1207646" y="169725"/>
                    <a:pt x="1304647" y="120556"/>
                    <a:pt x="1383318" y="41885"/>
                  </a:cubicBezTo>
                  <a:lnTo>
                    <a:pt x="1418066" y="7137"/>
                  </a:lnTo>
                  <a:lnTo>
                    <a:pt x="1423891" y="6578"/>
                  </a:lnTo>
                  <a:lnTo>
                    <a:pt x="1423891" y="6576"/>
                  </a:lnTo>
                  <a:lnTo>
                    <a:pt x="1492504" y="0"/>
                  </a:lnTo>
                  <a:cubicBezTo>
                    <a:pt x="1654364" y="0"/>
                    <a:pt x="1816224" y="61747"/>
                    <a:pt x="1939719" y="185243"/>
                  </a:cubicBezTo>
                  <a:lnTo>
                    <a:pt x="1975017" y="220541"/>
                  </a:lnTo>
                  <a:lnTo>
                    <a:pt x="1975017" y="229132"/>
                  </a:lnTo>
                  <a:lnTo>
                    <a:pt x="1423892" y="780257"/>
                  </a:lnTo>
                  <a:lnTo>
                    <a:pt x="1423892" y="780260"/>
                  </a:lnTo>
                  <a:lnTo>
                    <a:pt x="1194513" y="1009639"/>
                  </a:lnTo>
                  <a:cubicBezTo>
                    <a:pt x="1141692" y="1062461"/>
                    <a:pt x="1072461" y="1088871"/>
                    <a:pt x="1003230" y="1088871"/>
                  </a:cubicBezTo>
                  <a:lnTo>
                    <a:pt x="987509" y="1087364"/>
                  </a:lnTo>
                  <a:lnTo>
                    <a:pt x="971787" y="1088871"/>
                  </a:lnTo>
                  <a:cubicBezTo>
                    <a:pt x="902556" y="1088871"/>
                    <a:pt x="833325" y="1062461"/>
                    <a:pt x="780504" y="1009639"/>
                  </a:cubicBezTo>
                  <a:lnTo>
                    <a:pt x="551125" y="780260"/>
                  </a:lnTo>
                  <a:lnTo>
                    <a:pt x="551125" y="780257"/>
                  </a:lnTo>
                  <a:lnTo>
                    <a:pt x="0" y="229132"/>
                  </a:lnTo>
                  <a:lnTo>
                    <a:pt x="0" y="220541"/>
                  </a:lnTo>
                  <a:lnTo>
                    <a:pt x="35298" y="185243"/>
                  </a:lnTo>
                  <a:cubicBezTo>
                    <a:pt x="158793" y="61747"/>
                    <a:pt x="320653" y="0"/>
                    <a:pt x="482513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BE2FFD9D-1EB9-1962-9148-34D8197EF0B5}"/>
                </a:ext>
              </a:extLst>
            </p:cNvPr>
            <p:cNvSpPr/>
            <p:nvPr/>
          </p:nvSpPr>
          <p:spPr>
            <a:xfrm rot="16200000" flipH="1">
              <a:off x="3003533" y="-203064"/>
              <a:ext cx="934100" cy="1340228"/>
            </a:xfrm>
            <a:custGeom>
              <a:avLst/>
              <a:gdLst>
                <a:gd name="connsiteX0" fmla="*/ 0 w 934100"/>
                <a:gd name="connsiteY0" fmla="*/ 7559 h 1340228"/>
                <a:gd name="connsiteX1" fmla="*/ 0 w 934100"/>
                <a:gd name="connsiteY1" fmla="*/ 1340228 h 1340228"/>
                <a:gd name="connsiteX2" fmla="*/ 934100 w 934100"/>
                <a:gd name="connsiteY2" fmla="*/ 406127 h 1340228"/>
                <a:gd name="connsiteX3" fmla="*/ 934100 w 934100"/>
                <a:gd name="connsiteY3" fmla="*/ 390900 h 1340228"/>
                <a:gd name="connsiteX4" fmla="*/ 871536 w 934100"/>
                <a:gd name="connsiteY4" fmla="*/ 328336 h 1340228"/>
                <a:gd name="connsiteX5" fmla="*/ 78866 w 934100"/>
                <a:gd name="connsiteY5" fmla="*/ 0 h 1340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934100" h="1340228">
                  <a:moveTo>
                    <a:pt x="0" y="7559"/>
                  </a:moveTo>
                  <a:lnTo>
                    <a:pt x="0" y="1340228"/>
                  </a:lnTo>
                  <a:lnTo>
                    <a:pt x="934100" y="406127"/>
                  </a:lnTo>
                  <a:lnTo>
                    <a:pt x="934100" y="390900"/>
                  </a:lnTo>
                  <a:lnTo>
                    <a:pt x="871536" y="328336"/>
                  </a:lnTo>
                  <a:cubicBezTo>
                    <a:pt x="652646" y="109444"/>
                    <a:pt x="365756" y="0"/>
                    <a:pt x="78866" y="0"/>
                  </a:cubicBezTo>
                  <a:close/>
                </a:path>
              </a:pathLst>
            </a:custGeom>
            <a:grpFill/>
            <a:ln w="25400" cap="flat" cmpd="sng" algn="ctr">
              <a:noFill/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75B6D4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FC73D11-3BD6-9DA9-06C8-D30427A47B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1C8631-7EB4-491D-90DF-88607A226032}" type="datetime1">
              <a:rPr lang="en-US" smtClean="0"/>
              <a:t>2/12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8CEA5C-A1E8-9CEE-94F0-BF4A871F1B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977459C-5182-833E-A1F1-0458147AE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3F11C7-B87C-4933-9AFD-08422E5A18E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F3C8A52-6867-4192-3618-17366DB5B8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6F5986-85EB-DF07-26FC-1D6ED8DC4C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220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8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8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8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A53DEBAC-5F84-D841-03C0-2633BEAF0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6866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88B960CD-03E0-5713-D335-B07A0694265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5126" y="2743471"/>
            <a:ext cx="2397079" cy="3047729"/>
          </a:xfrm>
        </p:spPr>
        <p:txBody>
          <a:bodyPr anchor="ctr"/>
          <a:lstStyle>
            <a:lvl1pPr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CF745E8E-305A-258F-A772-89238F000A1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206" y="1343506"/>
            <a:ext cx="2397079" cy="1248619"/>
          </a:xfrm>
        </p:spPr>
        <p:txBody>
          <a:bodyPr lIns="72000" anchor="ctr" anchorCtr="0"/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665AE713-64A0-62C5-9B25-B3188627E2B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68666" y="1343506"/>
            <a:ext cx="2397079" cy="1248619"/>
          </a:xfrm>
        </p:spPr>
        <p:txBody>
          <a:bodyPr lIns="72000" anchor="ctr" anchorCtr="0"/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217EB06B-0024-06D0-ADF8-A2474B8CC9A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5126" y="1343506"/>
            <a:ext cx="2397079" cy="1248619"/>
          </a:xfrm>
        </p:spPr>
        <p:txBody>
          <a:bodyPr lIns="72000" anchor="ctr" anchorCtr="0"/>
          <a:lstStyle>
            <a:lvl1pPr marL="0" indent="0" algn="ctr" rtl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  <p:sp>
        <p:nvSpPr>
          <p:cNvPr id="65" name="Text Placeholder 5">
            <a:extLst>
              <a:ext uri="{FF2B5EF4-FFF2-40B4-BE49-F238E27FC236}">
                <a16:creationId xmlns:a16="http://schemas.microsoft.com/office/drawing/2014/main" id="{F594A588-3333-60EE-66B3-364310F773D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178724" y="2743471"/>
            <a:ext cx="2379942" cy="3047729"/>
          </a:xfrm>
        </p:spPr>
        <p:txBody>
          <a:bodyPr anchor="ctr"/>
          <a:lstStyle>
            <a:lvl1pPr rtl="0">
              <a:buClr>
                <a:schemeClr val="bg1"/>
              </a:buClr>
              <a:defRPr sz="2200"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33">
            <a:extLst>
              <a:ext uri="{FF2B5EF4-FFF2-40B4-BE49-F238E27FC236}">
                <a16:creationId xmlns:a16="http://schemas.microsoft.com/office/drawing/2014/main" id="{ED9D41A5-F51B-18AF-53E5-B0F404F54E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61587" y="1343506"/>
            <a:ext cx="2397079" cy="1248619"/>
          </a:xfrm>
        </p:spPr>
        <p:txBody>
          <a:bodyPr lIns="72000" anchor="ctr" anchorCtr="0"/>
          <a:lstStyle>
            <a:lvl1pPr marL="0" indent="0" algn="ctr" rtl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here. Keep text short and within text box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247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2.bin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EEB8C7-9636-7472-1B3A-1F530FFC8EFA}"/>
              </a:ext>
            </a:extLst>
          </p:cNvPr>
          <p:cNvGraphicFramePr>
            <a:graphicFrameLocks noChangeAspect="1"/>
          </p:cNvGraphicFramePr>
          <p:nvPr>
            <p:custDataLst>
              <p:tags r:id="rId42"/>
            </p:custDataLst>
            <p:extLst>
              <p:ext uri="{D42A27DB-BD31-4B8C-83A1-F6EECF244321}">
                <p14:modId xmlns:p14="http://schemas.microsoft.com/office/powerpoint/2010/main" val="220779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06" imgH="306" progId="TCLayout.ActiveDocument.1">
                  <p:embed/>
                </p:oleObj>
              </mc:Choice>
              <mc:Fallback>
                <p:oleObj name="think-cell Slide" r:id="rId44" imgW="306" imgH="30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EEB8C7-9636-7472-1B3A-1F530FFC8E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069F60D-9429-F273-018C-A0F62EA35F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8160"/>
            <a:ext cx="11277600" cy="657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746699-9995-4AC7-342A-91F039D7CF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</p:spPr>
        <p:txBody>
          <a:bodyPr vert="horz" lIns="91440" tIns="91440" rIns="91440" bIns="9144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28DC8-AFCF-40F4-5D8E-2F3F7460EA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-291144" y="5236532"/>
            <a:ext cx="1039487" cy="4571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2">
                    <a:lumMod val="90000"/>
                  </a:schemeClr>
                </a:solidFill>
                <a:latin typeface="Aptos Narrow" panose="020B0004020202020204" pitchFamily="34" charset="0"/>
              </a:defRPr>
            </a:lvl1pPr>
          </a:lstStyle>
          <a:p>
            <a:fld id="{BABFE860-21FD-4DA0-9E9A-92548ED661C3}" type="datetime1">
              <a:rPr lang="en-US" smtClean="0"/>
              <a:pPr/>
              <a:t>2/12/2025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A0CB87-8E5E-8A57-E967-9D51BBBC63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</p:spPr>
        <p:txBody>
          <a:bodyPr vert="horz" lIns="72000" tIns="72000" rIns="72000" bIns="72000" rtlCol="0" anchor="ctr"/>
          <a:lstStyle>
            <a:lvl1pPr algn="ctr">
              <a:defRPr sz="1000">
                <a:solidFill>
                  <a:srgbClr val="042549"/>
                </a:solidFill>
                <a:latin typeface="Aptos Narrow" panose="020B0004020202020204" pitchFamily="34" charset="0"/>
              </a:defRPr>
            </a:lvl1pPr>
          </a:lstStyle>
          <a:p>
            <a:fld id="{F93F11C7-B87C-4933-9AFD-08422E5A18E7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436AACE-E54F-276A-0021-FAC0D4BBE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2207790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306" imgH="306" progId="TCLayout.ActiveDocument.1">
                  <p:embed/>
                </p:oleObj>
              </mc:Choice>
              <mc:Fallback>
                <p:oleObj name="think-cell Slide" r:id="rId46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436AACE-E54F-276A-0021-FAC0D4BBE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custDataLst>
      <p:tags r:id="rId41"/>
    </p:custDataLst>
    <p:extLst>
      <p:ext uri="{BB962C8B-B14F-4D97-AF65-F5344CB8AC3E}">
        <p14:creationId xmlns:p14="http://schemas.microsoft.com/office/powerpoint/2010/main" val="3384034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706" r:id="rId32"/>
    <p:sldLayoutId id="2147483654" r:id="rId33"/>
    <p:sldLayoutId id="2147483657" r:id="rId34"/>
    <p:sldLayoutId id="2147483664" r:id="rId35"/>
    <p:sldLayoutId id="2147483708" r:id="rId36"/>
    <p:sldLayoutId id="2147483709" r:id="rId37"/>
    <p:sldLayoutId id="2147483710" r:id="rId38"/>
    <p:sldLayoutId id="2147483711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2"/>
          </a:solidFill>
          <a:latin typeface="Aptos Narrow" panose="020B00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ptos Narrow" panose="020B00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accent1">
              <a:lumMod val="75000"/>
            </a:schemeClr>
          </a:solidFill>
          <a:latin typeface="Aptos Narrow" panose="020B00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Aptos Narrow" panose="020B00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1"/>
          </a:solidFill>
          <a:latin typeface="Aptos Narrow" panose="020B00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bg2">
              <a:lumMod val="50000"/>
            </a:schemeClr>
          </a:solidFill>
          <a:latin typeface="Aptos Narrow" panose="020B00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9">
          <p15:clr>
            <a:srgbClr val="A4A3A4"/>
          </p15:clr>
        </p15:guide>
        <p15:guide id="20" pos="7680">
          <p15:clr>
            <a:srgbClr val="C4CECF"/>
          </p15:clr>
        </p15:guide>
        <p15:guide id="21" pos="288">
          <p15:clr>
            <a:srgbClr val="F26B43"/>
          </p15:clr>
        </p15:guide>
        <p15:guide id="22" pos="1472">
          <p15:clr>
            <a:srgbClr val="C4CECF"/>
          </p15:clr>
        </p15:guide>
        <p15:guide id="23" pos="2656">
          <p15:clr>
            <a:srgbClr val="C4CECF"/>
          </p15:clr>
        </p15:guide>
        <p15:guide id="24" pos="3840">
          <p15:clr>
            <a:srgbClr val="C4CECF"/>
          </p15:clr>
        </p15:guide>
        <p15:guide id="25" pos="5024">
          <p15:clr>
            <a:srgbClr val="C4CECF"/>
          </p15:clr>
        </p15:guide>
        <p15:guide id="26" pos="6199">
          <p15:clr>
            <a:srgbClr val="C4CECF"/>
          </p15:clr>
        </p15:guide>
        <p15:guide id="27" pos="7392">
          <p15:clr>
            <a:srgbClr val="F26B43"/>
          </p15:clr>
        </p15:guide>
        <p15:guide id="28" orient="horz">
          <p15:clr>
            <a:srgbClr val="C4CECF"/>
          </p15:clr>
        </p15:guide>
        <p15:guide id="29" orient="horz" pos="4320">
          <p15:clr>
            <a:srgbClr val="C4CECF"/>
          </p15:clr>
        </p15:guide>
        <p15:guide id="30" orient="horz" pos="288">
          <p15:clr>
            <a:srgbClr val="F26B43"/>
          </p15:clr>
        </p15:guide>
        <p15:guide id="31" orient="horz" pos="2296">
          <p15:clr>
            <a:srgbClr val="C4CECF"/>
          </p15:clr>
        </p15:guide>
        <p15:guide id="32" orient="horz" pos="754">
          <p15:clr>
            <a:srgbClr val="F26B43"/>
          </p15:clr>
        </p15:guide>
        <p15:guide id="33" orient="horz" pos="3838">
          <p15:clr>
            <a:srgbClr val="F26B43"/>
          </p15:clr>
        </p15:guide>
        <p15:guide id="34" orient="horz" pos="504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jpe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1_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BFC6A59-B71C-DD82-19A8-DB8ED7168D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BFC6A59-B71C-DD82-19A8-DB8ED7168D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Placeholder 16" descr="A person riding a bicycle on a road&#10;&#10;Description automatically generated">
            <a:extLst>
              <a:ext uri="{FF2B5EF4-FFF2-40B4-BE49-F238E27FC236}">
                <a16:creationId xmlns:a16="http://schemas.microsoft.com/office/drawing/2014/main" id="{F01952A4-42C2-28E5-BD38-9E099FBAD6B6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5864225" cy="5511800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C299364-D453-DD99-44B3-024CDE57E69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5999" y="2680903"/>
            <a:ext cx="5853831" cy="2674590"/>
          </a:xfrm>
        </p:spPr>
        <p:txBody>
          <a:bodyPr anchor="t"/>
          <a:lstStyle/>
          <a:p>
            <a:pPr>
              <a:lnSpc>
                <a:spcPct val="105000"/>
              </a:lnSpc>
            </a:pPr>
            <a:r>
              <a:rPr lang="en-US" sz="3600" dirty="0"/>
              <a:t>Marginal approach</a:t>
            </a:r>
            <a:br>
              <a:rPr lang="en-US" sz="2800" dirty="0"/>
            </a:br>
            <a:br>
              <a:rPr lang="en-US" sz="1600" b="0" dirty="0"/>
            </a:br>
            <a:r>
              <a:rPr lang="en-US" sz="2400" b="0" dirty="0"/>
              <a:t>Rob </a:t>
            </a:r>
            <a:r>
              <a:rPr lang="en-US" sz="2400" b="0" dirty="0" err="1"/>
              <a:t>Bailis</a:t>
            </a:r>
            <a:r>
              <a:rPr lang="en-US" sz="2400" b="0" dirty="0"/>
              <a:t> – SEI </a:t>
            </a:r>
            <a:br>
              <a:rPr lang="en-US" sz="2400" b="0" dirty="0"/>
            </a:br>
            <a:r>
              <a:rPr lang="en-US" sz="2400" b="0" dirty="0"/>
              <a:t>Adrian Ghilardi - UNAM</a:t>
            </a:r>
            <a:br>
              <a:rPr lang="en-US" sz="2400" b="0" dirty="0"/>
            </a:br>
            <a:endParaRPr lang="en-US" sz="1600" b="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B920F4-72CB-3415-A582-C8F7AACFAD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5999" y="5357507"/>
            <a:ext cx="5638800" cy="685800"/>
          </a:xfrm>
        </p:spPr>
        <p:txBody>
          <a:bodyPr/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 dirty="0" err="1"/>
              <a:t>ETHOSCon</a:t>
            </a:r>
            <a:r>
              <a:rPr lang="en-US" sz="2400" dirty="0"/>
              <a:t>  Jan 24-25,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BCB0FA-CF02-2916-9E78-4D35C18051B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3F11C7-B87C-4933-9AFD-08422E5A18E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12BE1C-FC2A-0D7A-E265-EC0C44289C9A}"/>
              </a:ext>
            </a:extLst>
          </p:cNvPr>
          <p:cNvSpPr/>
          <p:nvPr/>
        </p:nvSpPr>
        <p:spPr>
          <a:xfrm>
            <a:off x="9582411" y="336508"/>
            <a:ext cx="2367419" cy="10037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 sz="2200" dirty="0" err="1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F9A48B6-72B9-A684-6F6D-1A3EC60867D8}"/>
              </a:ext>
            </a:extLst>
          </p:cNvPr>
          <p:cNvSpPr/>
          <p:nvPr/>
        </p:nvSpPr>
        <p:spPr>
          <a:xfrm>
            <a:off x="0" y="5972532"/>
            <a:ext cx="12192000" cy="8854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X" sz="2200" dirty="0" err="1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CA0796C-1D52-9786-0CAC-EEBB1952A7B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033" y="156238"/>
            <a:ext cx="1660505" cy="881441"/>
          </a:xfrm>
          <a:prstGeom prst="rect">
            <a:avLst/>
          </a:prstGeom>
        </p:spPr>
      </p:pic>
      <p:pic>
        <p:nvPicPr>
          <p:cNvPr id="10" name="Imagen 7" descr="Imagen que contiene texto, libro&#10;&#10;Descripción generada con confianza muy alta">
            <a:extLst>
              <a:ext uri="{FF2B5EF4-FFF2-40B4-BE49-F238E27FC236}">
                <a16:creationId xmlns:a16="http://schemas.microsoft.com/office/drawing/2014/main" id="{A6C4EEE0-E3D0-BA35-EC4D-166BB5AF1A13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05485" y="99738"/>
            <a:ext cx="1086515" cy="91440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A1E7376-54B8-D09E-D1E4-C3866B5C9B9F}"/>
              </a:ext>
            </a:extLst>
          </p:cNvPr>
          <p:cNvSpPr txBox="1"/>
          <p:nvPr/>
        </p:nvSpPr>
        <p:spPr>
          <a:xfrm rot="470881">
            <a:off x="110" y="4597523"/>
            <a:ext cx="6097836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imothy </a:t>
            </a:r>
            <a:r>
              <a:rPr lang="en-US" sz="11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kolamazima</a:t>
            </a:r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: CC-BY-SA-4.0</a:t>
            </a:r>
          </a:p>
        </p:txBody>
      </p:sp>
      <p:pic>
        <p:nvPicPr>
          <p:cNvPr id="7" name="Picture 6" descr="A black background with red and green text&#10;&#10;Description automatically generated">
            <a:extLst>
              <a:ext uri="{FF2B5EF4-FFF2-40B4-BE49-F238E27FC236}">
                <a16:creationId xmlns:a16="http://schemas.microsoft.com/office/drawing/2014/main" id="{7CB73B09-7CCC-3131-54A5-CFE852419CB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38765" y="132774"/>
            <a:ext cx="2061691" cy="9069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6885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14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Marginal fNRB</a:t>
            </a:r>
            <a:endParaRPr dirty="0"/>
          </a:p>
        </p:txBody>
      </p:sp>
      <p:sp>
        <p:nvSpPr>
          <p:cNvPr id="585" name="Google Shape;585;p14"/>
          <p:cNvSpPr txBox="1"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ts val="3200"/>
              <a:buChar char="•"/>
            </a:pPr>
            <a:r>
              <a:rPr lang="en-US" dirty="0"/>
              <a:t>VERY preliminary results using Tanzania as a test case</a:t>
            </a:r>
            <a:endParaRPr dirty="0"/>
          </a:p>
          <a:p>
            <a:pPr marL="457200" lvl="1" indent="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2100"/>
              <a:buNone/>
            </a:pPr>
            <a:r>
              <a:rPr lang="en-US" sz="2400" dirty="0"/>
              <a:t>We ran 10 simulations changing demand uniformly by ± 5, ± 10, ± 15, ± 25, &amp; ± 50%</a:t>
            </a:r>
            <a:endParaRPr sz="2400" dirty="0"/>
          </a:p>
        </p:txBody>
      </p:sp>
      <p:sp>
        <p:nvSpPr>
          <p:cNvPr id="586" name="Google Shape;586;p14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graphicFrame>
        <p:nvGraphicFramePr>
          <p:cNvPr id="587" name="Google Shape;587;p14"/>
          <p:cNvGraphicFramePr/>
          <p:nvPr>
            <p:extLst>
              <p:ext uri="{D42A27DB-BD31-4B8C-83A1-F6EECF244321}">
                <p14:modId xmlns:p14="http://schemas.microsoft.com/office/powerpoint/2010/main" val="4176673287"/>
              </p:ext>
            </p:extLst>
          </p:nvPr>
        </p:nvGraphicFramePr>
        <p:xfrm>
          <a:off x="1791227" y="2855588"/>
          <a:ext cx="3676388" cy="3644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89" name="Google Shape;589;p14"/>
          <p:cNvSpPr txBox="1"/>
          <p:nvPr/>
        </p:nvSpPr>
        <p:spPr>
          <a:xfrm>
            <a:off x="1958750" y="2543473"/>
            <a:ext cx="3341342" cy="391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RB as a function of wood harvest</a:t>
            </a:r>
            <a:endParaRPr dirty="0"/>
          </a:p>
        </p:txBody>
      </p:sp>
      <p:sp>
        <p:nvSpPr>
          <p:cNvPr id="590" name="Google Shape;590;p14"/>
          <p:cNvSpPr txBox="1"/>
          <p:nvPr/>
        </p:nvSpPr>
        <p:spPr>
          <a:xfrm>
            <a:off x="6485812" y="2543473"/>
            <a:ext cx="4533857" cy="3916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fNRB and </a:t>
            </a:r>
            <a:r>
              <a:rPr lang="en-US" sz="16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fNRB</a:t>
            </a:r>
            <a:r>
              <a:rPr lang="en-US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as a function of wood harvest</a:t>
            </a:r>
            <a:endParaRPr dirty="0"/>
          </a:p>
        </p:txBody>
      </p:sp>
      <p:graphicFrame>
        <p:nvGraphicFramePr>
          <p:cNvPr id="591" name="Google Shape;591;p14"/>
          <p:cNvGraphicFramePr/>
          <p:nvPr>
            <p:extLst>
              <p:ext uri="{D42A27DB-BD31-4B8C-83A1-F6EECF244321}">
                <p14:modId xmlns:p14="http://schemas.microsoft.com/office/powerpoint/2010/main" val="131111916"/>
              </p:ext>
            </p:extLst>
          </p:nvPr>
        </p:nvGraphicFramePr>
        <p:xfrm>
          <a:off x="6872200" y="2855588"/>
          <a:ext cx="3761080" cy="36442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9244743-BE0C-BA11-B769-7800F70EF3AC}"/>
              </a:ext>
            </a:extLst>
          </p:cNvPr>
          <p:cNvSpPr txBox="1"/>
          <p:nvPr/>
        </p:nvSpPr>
        <p:spPr>
          <a:xfrm>
            <a:off x="10451112" y="3758308"/>
            <a:ext cx="1283684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 err="1"/>
              <a:t>mfNRB</a:t>
            </a:r>
            <a:r>
              <a:rPr lang="en-US" sz="1100" dirty="0"/>
              <a:t> comes out 5-7% higher than fNRB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Google Shape;596;p15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Marginal fNRB – next steps</a:t>
            </a:r>
            <a:endParaRPr dirty="0"/>
          </a:p>
        </p:txBody>
      </p:sp>
      <p:sp>
        <p:nvSpPr>
          <p:cNvPr id="597" name="Google Shape;597;p15"/>
          <p:cNvSpPr txBox="1">
            <a:spLocks noGrp="1"/>
          </p:cNvSpPr>
          <p:nvPr>
            <p:ph type="body" idx="1"/>
          </p:nvPr>
        </p:nvSpPr>
        <p:spPr>
          <a:xfrm>
            <a:off x="457200" y="1200801"/>
            <a:ext cx="11277598" cy="4892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SzPts val="3200"/>
              <a:buChar char="•"/>
            </a:pPr>
            <a:r>
              <a:rPr lang="en-US" dirty="0"/>
              <a:t>Repeat in additional countries using uniform changes in demand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TZA is high fNRB, we’ll add a few others (e.g. MWI, SEN)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Low fNRB countries 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Rapidly changing fuel mix (e.g. India, Kenya) </a:t>
            </a:r>
          </a:p>
          <a:p>
            <a:pPr marL="228600" lvl="0" indent="-228600" algn="l" rtl="0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SzPts val="3200"/>
              <a:buChar char="•"/>
            </a:pPr>
            <a:r>
              <a:rPr lang="en-US" dirty="0"/>
              <a:t>Examine the impact of non-uniform changes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Only fuelwood (mainly subsistence)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 dirty="0"/>
              <a:t>Only charcoal (fully commercial)</a:t>
            </a:r>
          </a:p>
          <a:p>
            <a:pPr lvl="1">
              <a:spcAft>
                <a:spcPts val="600"/>
              </a:spcAft>
              <a:buSzPts val="3200"/>
            </a:pPr>
            <a:r>
              <a:rPr lang="en-US"/>
              <a:t>Specific admin </a:t>
            </a:r>
            <a:r>
              <a:rPr lang="en-US" dirty="0"/>
              <a:t>units</a:t>
            </a:r>
          </a:p>
          <a:p>
            <a:pPr lvl="1">
              <a:spcAft>
                <a:spcPts val="600"/>
              </a:spcAft>
              <a:buSzPts val="3200"/>
            </a:pPr>
            <a:endParaRPr lang="en-US" dirty="0"/>
          </a:p>
        </p:txBody>
      </p:sp>
      <p:sp>
        <p:nvSpPr>
          <p:cNvPr id="598" name="Google Shape;598;p15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99" name="Google Shape;599;p15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0FF9C6C-5BD9-F019-B170-C542070E1BE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7634" t="22602" r="6158" b="186"/>
          <a:stretch/>
        </p:blipFill>
        <p:spPr>
          <a:xfrm>
            <a:off x="5321957" y="1037806"/>
            <a:ext cx="5939655" cy="3605527"/>
          </a:xfrm>
          <a:prstGeom prst="rect">
            <a:avLst/>
          </a:prstGeom>
        </p:spPr>
      </p:pic>
      <p:sp>
        <p:nvSpPr>
          <p:cNvPr id="607" name="Google Shape;607;p16"/>
          <p:cNvSpPr txBox="1">
            <a:spLocks noGrp="1"/>
          </p:cNvSpPr>
          <p:nvPr>
            <p:ph type="sldNum" sz="quarter" idx="12"/>
          </p:nvPr>
        </p:nvSpPr>
        <p:spPr>
          <a:xfrm>
            <a:off x="11734799" y="6254713"/>
            <a:ext cx="457201" cy="490253"/>
          </a:xfrm>
        </p:spPr>
        <p:txBody>
          <a:bodyPr spcFirstLastPara="1" lIns="72000" tIns="72000" rIns="72000" bIns="72000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600"/>
              </a:spcAft>
              <a:buNone/>
            </a:pPr>
            <a:fld id="{00000000-1234-1234-1234-123412341234}" type="slidenum">
              <a:rPr lang="en-US"/>
              <a:pPr marL="0" lvl="0" indent="0" rtl="0">
                <a:spcBef>
                  <a:spcPts val="0"/>
                </a:spcBef>
                <a:spcAft>
                  <a:spcPts val="600"/>
                </a:spcAft>
                <a:buNone/>
              </a:pPr>
              <a:t>12</a:t>
            </a:fld>
            <a:endParaRPr lang="en-US"/>
          </a:p>
        </p:txBody>
      </p:sp>
      <p:sp>
        <p:nvSpPr>
          <p:cNvPr id="606" name="Google Shape;606;p16"/>
          <p:cNvSpPr txBox="1">
            <a:spLocks noGrp="1"/>
          </p:cNvSpPr>
          <p:nvPr>
            <p:ph type="title"/>
          </p:nvPr>
        </p:nvSpPr>
        <p:spPr>
          <a:xfrm>
            <a:off x="609600" y="642877"/>
            <a:ext cx="10972800" cy="978601"/>
          </a:xfrm>
        </p:spPr>
        <p:txBody>
          <a:bodyPr spcFirstLastPara="1" lIns="91425" tIns="91425" rIns="91425" bIns="91425" anchor="ctr" anchorCtr="0">
            <a:norm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SzPts val="4800"/>
              <a:buNone/>
            </a:pPr>
            <a:r>
              <a:rPr lang="en-US" sz="3600" dirty="0"/>
              <a:t>Thank you!</a:t>
            </a:r>
          </a:p>
        </p:txBody>
      </p:sp>
      <p:sp>
        <p:nvSpPr>
          <p:cNvPr id="3" name="Título 1">
            <a:extLst>
              <a:ext uri="{FF2B5EF4-FFF2-40B4-BE49-F238E27FC236}">
                <a16:creationId xmlns:a16="http://schemas.microsoft.com/office/drawing/2014/main" id="{DEC9DE40-E5CE-EBF2-5384-E2FF3C00530F}"/>
              </a:ext>
            </a:extLst>
          </p:cNvPr>
          <p:cNvSpPr txBox="1">
            <a:spLocks/>
          </p:cNvSpPr>
          <p:nvPr/>
        </p:nvSpPr>
        <p:spPr>
          <a:xfrm>
            <a:off x="721360" y="3690252"/>
            <a:ext cx="4543970" cy="469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ptos Narrow" panose="020B0004020202020204" pitchFamily="34" charset="0"/>
                <a:ea typeface="+mj-ea"/>
                <a:cs typeface="+mj-cs"/>
              </a:defRPr>
            </a:lvl1pPr>
          </a:lstStyle>
          <a:p>
            <a:r>
              <a:rPr lang="es-MX" sz="2400" b="0" dirty="0">
                <a:solidFill>
                  <a:schemeClr val="tx2">
                    <a:lumMod val="75000"/>
                  </a:schemeClr>
                </a:solidFill>
              </a:rPr>
              <a:t>Past and present funder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FFCA0C0-19AD-2F58-D7AF-D6B6A5BD8A21}"/>
              </a:ext>
            </a:extLst>
          </p:cNvPr>
          <p:cNvGrpSpPr/>
          <p:nvPr/>
        </p:nvGrpSpPr>
        <p:grpSpPr>
          <a:xfrm>
            <a:off x="609600" y="4065971"/>
            <a:ext cx="5590631" cy="2134870"/>
            <a:chOff x="345440" y="1903076"/>
            <a:chExt cx="5590631" cy="213487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389AD90-D486-0CC4-EA9E-EC9B3D85B61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alphaModFix amt="90000"/>
            </a:blip>
            <a:stretch>
              <a:fillRect/>
            </a:stretch>
          </p:blipFill>
          <p:spPr>
            <a:xfrm>
              <a:off x="345440" y="1903076"/>
              <a:ext cx="5590631" cy="2134870"/>
            </a:xfrm>
            <a:prstGeom prst="rect">
              <a:avLst/>
            </a:prstGeom>
            <a:effectLst>
              <a:softEdge rad="0"/>
            </a:effectLst>
          </p:spPr>
        </p:pic>
        <p:pic>
          <p:nvPicPr>
            <p:cNvPr id="1026" name="Picture 2" descr="High Tide">
              <a:extLst>
                <a:ext uri="{FF2B5EF4-FFF2-40B4-BE49-F238E27FC236}">
                  <a16:creationId xmlns:a16="http://schemas.microsoft.com/office/drawing/2014/main" id="{F620958D-8DF1-4F4E-4A20-47EEB65E7AD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6730" b="-28118"/>
            <a:stretch/>
          </p:blipFill>
          <p:spPr bwMode="auto">
            <a:xfrm>
              <a:off x="457200" y="2999680"/>
              <a:ext cx="1679226" cy="907581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5" name="Título 1">
            <a:extLst>
              <a:ext uri="{FF2B5EF4-FFF2-40B4-BE49-F238E27FC236}">
                <a16:creationId xmlns:a16="http://schemas.microsoft.com/office/drawing/2014/main" id="{99804BA9-1F97-E479-846F-52C6456EA501}"/>
              </a:ext>
            </a:extLst>
          </p:cNvPr>
          <p:cNvSpPr txBox="1">
            <a:spLocks/>
          </p:cNvSpPr>
          <p:nvPr/>
        </p:nvSpPr>
        <p:spPr>
          <a:xfrm>
            <a:off x="6952352" y="642877"/>
            <a:ext cx="2678863" cy="469840"/>
          </a:xfrm>
          <a:prstGeom prst="rect">
            <a:avLst/>
          </a:prstGeom>
        </p:spPr>
        <p:txBody>
          <a:bodyPr vert="horz" lIns="0" tIns="72000" rIns="72000" bIns="7200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ptos Narrow" panose="020B0004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MX" sz="2400" b="0" dirty="0">
                <a:solidFill>
                  <a:schemeClr val="tx2">
                    <a:lumMod val="75000"/>
                  </a:schemeClr>
                </a:solidFill>
              </a:rPr>
              <a:t>Team MoFuS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hart Placeholder 12">
            <a:extLst>
              <a:ext uri="{FF2B5EF4-FFF2-40B4-BE49-F238E27FC236}">
                <a16:creationId xmlns:a16="http://schemas.microsoft.com/office/drawing/2014/main" id="{C69003DB-8BD8-D555-0FC4-62AEFDF2160C}"/>
              </a:ext>
            </a:extLst>
          </p:cNvPr>
          <p:cNvPicPr>
            <a:picLocks noGrp="1" noChangeAspect="1"/>
          </p:cNvPicPr>
          <p:nvPr>
            <p:ph type="chart" sz="quarter" idx="17"/>
          </p:nvPr>
        </p:nvPicPr>
        <p:blipFill>
          <a:blip r:embed="rId3"/>
          <a:stretch>
            <a:fillRect/>
          </a:stretch>
        </p:blipFill>
        <p:spPr>
          <a:xfrm>
            <a:off x="107120" y="1224830"/>
            <a:ext cx="6724433" cy="5224940"/>
          </a:xfrm>
          <a:prstGeom prst="rect">
            <a:avLst/>
          </a:prstGeom>
        </p:spPr>
      </p:pic>
      <p:sp>
        <p:nvSpPr>
          <p:cNvPr id="526" name="Google Shape;526;p9"/>
          <p:cNvSpPr txBox="1">
            <a:spLocks noGrp="1"/>
          </p:cNvSpPr>
          <p:nvPr>
            <p:ph type="sldNum" sz="quarter" idx="12"/>
          </p:nvPr>
        </p:nvSpPr>
        <p:spPr>
          <a:xfrm>
            <a:off x="11734799" y="6254713"/>
            <a:ext cx="457201" cy="490253"/>
          </a:xfr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lvl="0"/>
            <a:fld id="{00000000-1234-1234-1234-123412341234}" type="slidenum">
              <a:rPr lang="en-US"/>
              <a:pPr lvl="0"/>
              <a:t>13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0072762-C968-2266-B3AB-C521691C532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96163" y="1224829"/>
            <a:ext cx="4338637" cy="5111473"/>
          </a:xfrm>
        </p:spPr>
        <p:txBody>
          <a:bodyPr>
            <a:normAutofit fontScale="775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1. FAO’s 2000 Global Forest Resource Assessment</a:t>
            </a:r>
          </a:p>
          <a:p>
            <a:pPr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Why, in 2022, was the UNFCCC still recommending FAO data from 2000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More recent GFRA’s don’t include data in the same form</a:t>
            </a:r>
          </a:p>
          <a:p>
            <a:pPr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What’s the problem?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Focused only on forest areas - not where most people harvest wood</a:t>
            </a:r>
          </a:p>
          <a:p>
            <a:pPr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An extreme example from Rwanda: 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GFRA only includes montane forest covering 12% of the country </a:t>
            </a:r>
          </a:p>
          <a:p>
            <a:pPr lvl="1">
              <a:lnSpc>
                <a:spcPct val="120000"/>
              </a:lnSpc>
            </a:pPr>
            <a:r>
              <a:rPr lang="en-US" dirty="0">
                <a:latin typeface="Aptos Narrow" panose="020B0004020202020204" pitchFamily="34" charset="0"/>
                <a:sym typeface="Avenir"/>
              </a:rPr>
              <a:t>75% of Rwandans who collect fuelwood obtain it from private land and 88% travel less than 2km (MININFRA, 2020)</a:t>
            </a:r>
            <a:endParaRPr lang="en-US" dirty="0">
              <a:latin typeface="Aptos Narrow" panose="020B0004020202020204" pitchFamily="34" charset="0"/>
            </a:endParaRPr>
          </a:p>
        </p:txBody>
      </p:sp>
      <p:sp>
        <p:nvSpPr>
          <p:cNvPr id="525" name="Google Shape;525;p9"/>
          <p:cNvSpPr txBox="1">
            <a:spLocks noGrp="1"/>
          </p:cNvSpPr>
          <p:nvPr>
            <p:ph type="title"/>
          </p:nvPr>
        </p:nvSpPr>
        <p:spPr>
          <a:xfrm>
            <a:off x="7396163" y="358775"/>
            <a:ext cx="4338637" cy="1101725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 sz="3600" dirty="0"/>
              <a:t>Uncertainty in Tool30</a:t>
            </a:r>
          </a:p>
        </p:txBody>
      </p:sp>
      <p:sp>
        <p:nvSpPr>
          <p:cNvPr id="527" name="Google Shape;527;p9"/>
          <p:cNvSpPr txBox="1"/>
          <p:nvPr/>
        </p:nvSpPr>
        <p:spPr>
          <a:xfrm>
            <a:off x="4039340" y="141155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32" name="Google Shape;532;p9"/>
          <p:cNvSpPr txBox="1"/>
          <p:nvPr/>
        </p:nvSpPr>
        <p:spPr>
          <a:xfrm>
            <a:off x="2724150" y="0"/>
            <a:ext cx="0" cy="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31" name="Google Shape;531;p9"/>
          <p:cNvSpPr/>
          <p:nvPr/>
        </p:nvSpPr>
        <p:spPr>
          <a:xfrm>
            <a:off x="6560364" y="6097764"/>
            <a:ext cx="308897" cy="238539"/>
          </a:xfrm>
          <a:prstGeom prst="ellipse">
            <a:avLst/>
          </a:prstGeom>
          <a:noFill/>
          <a:ln w="12700" cap="flat" cmpd="sng">
            <a:solidFill>
              <a:srgbClr val="C0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</p:spTree>
    <p:extLst>
      <p:ext uri="{BB962C8B-B14F-4D97-AF65-F5344CB8AC3E}">
        <p14:creationId xmlns:p14="http://schemas.microsoft.com/office/powerpoint/2010/main" val="1213831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" name="Google Shape;612;p17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13" name="Google Shape;613;p17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/>
          </a:p>
        </p:txBody>
      </p:sp>
      <p:sp>
        <p:nvSpPr>
          <p:cNvPr id="614" name="Google Shape;614;p17"/>
          <p:cNvSpPr txBox="1">
            <a:spLocks noGrp="1"/>
          </p:cNvSpPr>
          <p:nvPr>
            <p:ph type="body" idx="1"/>
          </p:nvPr>
        </p:nvSpPr>
        <p:spPr>
          <a:xfrm>
            <a:off x="7116618" y="1293134"/>
            <a:ext cx="4996723" cy="46414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/>
              <a:t>Other sources have very limited coverage. E.g. FAO’s 2015 GFRA: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</a:pPr>
            <a:r>
              <a:rPr lang="en-US"/>
              <a:t>O</a:t>
            </a:r>
            <a:r>
              <a:rPr lang="en-US" sz="2400"/>
              <a:t>nly includes 11 countries in SSA</a:t>
            </a:r>
            <a:endParaRPr/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</a:pPr>
            <a:r>
              <a:rPr lang="en-US"/>
              <a:t>Has n</a:t>
            </a:r>
            <a:r>
              <a:rPr lang="en-US" sz="2400"/>
              <a:t>o breakdown by forest type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Only conifer / broadleaf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Inconsistent presentation of data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No scientific sources cited</a:t>
            </a:r>
            <a:endParaRPr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650"/>
              <a:buChar char="o"/>
            </a:pPr>
            <a:r>
              <a:rPr lang="en-US"/>
              <a:t>No uncertainty provided</a:t>
            </a:r>
            <a:endParaRPr/>
          </a:p>
          <a:p>
            <a:pPr marL="228600" lvl="0" indent="-76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sp>
        <p:nvSpPr>
          <p:cNvPr id="615" name="Google Shape;615;p17"/>
          <p:cNvSpPr txBox="1">
            <a:spLocks noGrp="1"/>
          </p:cNvSpPr>
          <p:nvPr>
            <p:ph type="title"/>
          </p:nvPr>
        </p:nvSpPr>
        <p:spPr>
          <a:xfrm>
            <a:off x="457201" y="358161"/>
            <a:ext cx="11515724" cy="11023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800"/>
              <a:buFont typeface="Arial"/>
              <a:buNone/>
            </a:pPr>
            <a:r>
              <a:rPr lang="en-US" sz="2800"/>
              <a:t>Challenges using Tool30 – misleading or ambiguous data sources</a:t>
            </a:r>
            <a:endParaRPr/>
          </a:p>
        </p:txBody>
      </p:sp>
      <p:graphicFrame>
        <p:nvGraphicFramePr>
          <p:cNvPr id="616" name="Google Shape;616;p17"/>
          <p:cNvGraphicFramePr/>
          <p:nvPr/>
        </p:nvGraphicFramePr>
        <p:xfrm>
          <a:off x="457199" y="1430603"/>
          <a:ext cx="6027750" cy="30480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027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540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000" b="0" i="0" u="none" strike="noStrike" cap="none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rom FAO’s  “2015 Global Forest Resource Assessment” </a:t>
                      </a:r>
                      <a:endParaRPr/>
                    </a:p>
                  </a:txBody>
                  <a:tcPr marL="47625" marR="47625" marT="0" marB="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17" name="Google Shape;617;p17"/>
          <p:cNvSpPr txBox="1"/>
          <p:nvPr/>
        </p:nvSpPr>
        <p:spPr>
          <a:xfrm>
            <a:off x="701963" y="4292568"/>
            <a:ext cx="6243782" cy="20839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Take Kenya as an example:</a:t>
            </a:r>
            <a:endParaRPr/>
          </a:p>
          <a:p>
            <a:pPr marL="342900" marR="0" lvl="0" indent="-34290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1.3 m</a:t>
            </a:r>
            <a:r>
              <a:rPr lang="en-US" sz="2000" baseline="30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3</a:t>
            </a: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/ha-yr for broadleaf forests </a:t>
            </a:r>
            <a:endParaRPr/>
          </a:p>
          <a:p>
            <a:pPr marL="457200" marR="0" lvl="1" indent="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None/>
            </a:pPr>
            <a:r>
              <a:rPr lang="en-US" sz="2000" b="0" i="0" u="none" strike="noStrike" cap="none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&lt; Mauritania ?!?!</a:t>
            </a:r>
            <a:endParaRPr/>
          </a:p>
          <a:p>
            <a:pPr marL="342900" marR="0" lvl="0" indent="-34290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0.9 dry-tons/ha-yr </a:t>
            </a:r>
            <a:endParaRPr sz="20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  <a:p>
            <a:pPr marL="342900" marR="0" lvl="0" indent="-342900" algn="l" rtl="0">
              <a:lnSpc>
                <a:spcPct val="105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en-US" sz="20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lower than most IPCC data</a:t>
            </a: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pic>
        <p:nvPicPr>
          <p:cNvPr id="618" name="Google Shape;618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215323" y="2054753"/>
            <a:ext cx="6656532" cy="217034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5" name="Google Shape;465;p2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Overview</a:t>
            </a:r>
          </a:p>
        </p:txBody>
      </p:sp>
      <p:sp>
        <p:nvSpPr>
          <p:cNvPr id="466" name="Google Shape;466;p2"/>
          <p:cNvSpPr txBox="1">
            <a:spLocks noGrp="1"/>
          </p:cNvSpPr>
          <p:nvPr>
            <p:ph type="body" idx="1"/>
          </p:nvPr>
        </p:nvSpPr>
        <p:spPr>
          <a:xfrm>
            <a:off x="457199" y="1200801"/>
            <a:ext cx="6173787" cy="4892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Uncertainties – </a:t>
            </a:r>
            <a:r>
              <a:rPr lang="en-US" i="1" dirty="0"/>
              <a:t>Improving MoFuSS</a:t>
            </a:r>
            <a:endParaRPr i="1"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Marginal fNRB – </a:t>
            </a:r>
            <a:r>
              <a:rPr lang="en-US" i="1" dirty="0"/>
              <a:t>New methods</a:t>
            </a:r>
            <a:endParaRPr i="1" dirty="0"/>
          </a:p>
        </p:txBody>
      </p:sp>
      <p:sp>
        <p:nvSpPr>
          <p:cNvPr id="468" name="Google Shape;468;p2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F117BF6E-6FC1-DE9E-55A0-9E4FC1355A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0987" y="0"/>
            <a:ext cx="5561013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7B8B6AF-0B85-1540-BEB2-FDD0083C0451}"/>
              </a:ext>
            </a:extLst>
          </p:cNvPr>
          <p:cNvSpPr txBox="1"/>
          <p:nvPr/>
        </p:nvSpPr>
        <p:spPr>
          <a:xfrm>
            <a:off x="4410640" y="6596390"/>
            <a:ext cx="230074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>
                <a:latin typeface="Aptos Narrow" panose="020B0004020202020204" pitchFamily="34" charset="0"/>
              </a:rPr>
              <a:t>https://</a:t>
            </a:r>
            <a:r>
              <a:rPr lang="en-US" sz="1100" dirty="0" err="1">
                <a:latin typeface="Aptos Narrow" panose="020B0004020202020204" pitchFamily="34" charset="0"/>
              </a:rPr>
              <a:t>ctrees.org</a:t>
            </a:r>
            <a:r>
              <a:rPr lang="en-US" sz="1100" dirty="0">
                <a:latin typeface="Aptos Narrow" panose="020B0004020202020204" pitchFamily="34" charset="0"/>
              </a:rPr>
              <a:t>/products/tree-level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5" name="Google Shape;505;p7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 dirty="0"/>
              <a:t>Uncertainties</a:t>
            </a:r>
            <a:endParaRPr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06" name="Google Shape;506;p7"/>
              <p:cNvSpPr txBox="1">
                <a:spLocks noGrp="1"/>
              </p:cNvSpPr>
              <p:nvPr>
                <p:ph type="body" idx="1"/>
              </p:nvPr>
            </p:nvSpPr>
            <p:spPr>
              <a:xfrm>
                <a:off x="509283" y="1189344"/>
                <a:ext cx="11277598" cy="489202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91425" rIns="91425" bIns="91425" anchor="t" anchorCtr="0">
                <a:noAutofit/>
              </a:bodyPr>
              <a:lstStyle/>
              <a:p>
                <a:pPr marL="228600" lvl="0" indent="-22860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Char char="•"/>
                </a:pPr>
                <a14:m>
                  <m:oMath xmlns:m="http://schemas.openxmlformats.org/officeDocument/2006/math">
                    <m:f>
                      <m:fPr>
                        <m:type m:val="lin"/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𝑆𝐸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=</m:t>
                        </m:r>
                        <m:r>
                          <a:rPr lang="es-MX" b="0" i="1" smtClean="0">
                            <a:latin typeface="Cambria Math" panose="02040503050406030204" pitchFamily="18" charset="0"/>
                          </a:rPr>
                          <m:t>𝑆𝐷</m:t>
                        </m:r>
                      </m:num>
                      <m:den>
                        <m:rad>
                          <m:radPr>
                            <m:degHide m:val="on"/>
                            <m:ctrlPr>
                              <a:rPr lang="en-US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s-MX" b="0" i="1" smtClean="0">
                                <a:latin typeface="Cambria Math" panose="02040503050406030204" pitchFamily="18" charset="0"/>
                              </a:rPr>
                              <m:t>𝑛</m:t>
                            </m:r>
                          </m:e>
                        </m:rad>
                      </m:den>
                    </m:f>
                  </m:oMath>
                </a14:m>
                <a:r>
                  <a:rPr lang="en-US" dirty="0"/>
                  <a:t>      Being n, the number of Monte Carlo realizations</a:t>
                </a:r>
              </a:p>
              <a:p>
                <a:pPr marL="228600" lvl="0" indent="-22860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Char char="•"/>
                </a:pPr>
                <a:endParaRPr lang="en-US" dirty="0"/>
              </a:p>
              <a:p>
                <a:pPr marL="228600" lvl="0" indent="-22860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Char char="•"/>
                </a:pPr>
                <a:endParaRPr lang="en-US" dirty="0"/>
              </a:p>
              <a:p>
                <a:pPr marL="0" lvl="0" indent="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  <a:p>
                <a:pPr marL="0" lvl="0" indent="0" algn="l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  <a:p>
                <a:pPr marL="0" lvl="0" indent="0" algn="r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  <a:p>
                <a:pPr marL="0" lvl="0" indent="0" algn="r" rtl="0">
                  <a:lnSpc>
                    <a:spcPct val="105000"/>
                  </a:lnSpc>
                  <a:spcBef>
                    <a:spcPts val="0"/>
                  </a:spcBef>
                  <a:spcAft>
                    <a:spcPts val="0"/>
                  </a:spcAft>
                  <a:buSzPts val="3200"/>
                  <a:buNone/>
                </a:pPr>
                <a:endParaRPr lang="en-US" i="1" dirty="0"/>
              </a:p>
            </p:txBody>
          </p:sp>
        </mc:Choice>
        <mc:Fallback xmlns="">
          <p:sp>
            <p:nvSpPr>
              <p:cNvPr id="506" name="Google Shape;506;p7"/>
              <p:cNvSpPr txBox="1">
                <a:spLocks noGrp="1" noRot="1" noChangeAspect="1" noMove="1" noResize="1" noEditPoints="1" noAdjustHandles="1" noChangeArrowheads="1" noChangeShapeType="1" noTextEdit="1"/>
              </p:cNvSpPr>
              <p:nvPr>
                <p:ph type="body" idx="1"/>
              </p:nvPr>
            </p:nvSpPr>
            <p:spPr>
              <a:xfrm>
                <a:off x="509283" y="1189344"/>
                <a:ext cx="11277598" cy="4892024"/>
              </a:xfrm>
              <a:prstGeom prst="rect">
                <a:avLst/>
              </a:prstGeom>
              <a:blipFill>
                <a:blip r:embed="rId3"/>
                <a:stretch>
                  <a:fillRect t="-249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08" name="Google Shape;508;p7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44BCA15-E2CE-50E9-414F-F88C46EBCF3F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38333" t="12863" r="33544" b="36799"/>
          <a:stretch/>
        </p:blipFill>
        <p:spPr>
          <a:xfrm>
            <a:off x="1072426" y="1820550"/>
            <a:ext cx="4795939" cy="48288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0E9F682-F7A0-25C3-F198-6C88CC56DF7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t="6914" r="3874" b="6084"/>
          <a:stretch/>
        </p:blipFill>
        <p:spPr>
          <a:xfrm>
            <a:off x="6095997" y="1820550"/>
            <a:ext cx="4795939" cy="486164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Google Shape;513;p8"/>
          <p:cNvSpPr txBox="1">
            <a:spLocks noGrp="1"/>
          </p:cNvSpPr>
          <p:nvPr>
            <p:ph type="body" idx="1"/>
          </p:nvPr>
        </p:nvSpPr>
        <p:spPr>
          <a:xfrm>
            <a:off x="6302479" y="2486641"/>
            <a:ext cx="5409452" cy="3768072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</a:pPr>
            <a:r>
              <a:rPr lang="en-US" sz="2800" dirty="0"/>
              <a:t>To use Tool30, you need to know:</a:t>
            </a:r>
            <a:endParaRPr dirty="0"/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Areas of different types forest</a:t>
            </a:r>
            <a:endParaRPr sz="2000" dirty="0"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500"/>
              <a:buChar char="o"/>
            </a:pPr>
            <a:r>
              <a:rPr lang="en-US" sz="2000" dirty="0"/>
              <a:t>Ideally areas of “trees outside forests” too</a:t>
            </a:r>
            <a:endParaRPr dirty="0"/>
          </a:p>
          <a:p>
            <a:pPr marL="342900" lvl="0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Woody biomass growth rates in each forest type</a:t>
            </a:r>
            <a:endParaRPr dirty="0"/>
          </a:p>
          <a:p>
            <a:pPr marL="457200" lvl="1" indent="0">
              <a:spcBef>
                <a:spcPts val="1000"/>
              </a:spcBef>
              <a:buSzPts val="2400"/>
              <a:buNone/>
            </a:pPr>
            <a:r>
              <a:rPr lang="en-US" sz="1800" dirty="0"/>
              <a:t>Suggest 3 possible sources as well as “National studies or government data or official statistics”</a:t>
            </a:r>
          </a:p>
          <a:p>
            <a:pPr marL="342900" indent="-342900">
              <a:buSzPts val="2400"/>
            </a:pPr>
            <a:r>
              <a:rPr lang="en-US" dirty="0"/>
              <a:t>Woodfuel demand</a:t>
            </a:r>
            <a:r>
              <a:rPr lang="en-US" sz="2400" dirty="0"/>
              <a:t> (not covering today)</a:t>
            </a:r>
            <a:endParaRPr dirty="0"/>
          </a:p>
        </p:txBody>
      </p:sp>
      <p:sp>
        <p:nvSpPr>
          <p:cNvPr id="514" name="Google Shape;514;p8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7518400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15" name="Google Shape;515;p8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/>
          </a:p>
        </p:txBody>
      </p:sp>
      <p:sp>
        <p:nvSpPr>
          <p:cNvPr id="516" name="Google Shape;516;p8"/>
          <p:cNvSpPr txBox="1">
            <a:spLocks noGrp="1"/>
          </p:cNvSpPr>
          <p:nvPr>
            <p:ph type="body" idx="2"/>
          </p:nvPr>
        </p:nvSpPr>
        <p:spPr>
          <a:xfrm>
            <a:off x="6302479" y="1447800"/>
            <a:ext cx="5409452" cy="1038840"/>
          </a:xfrm>
          <a:prstGeom prst="rect">
            <a:avLst/>
          </a:prstGeom>
          <a:noFill/>
          <a:ln>
            <a:noFill/>
          </a:ln>
          <a:effectLst>
            <a:outerShdw blurRad="127000" sx="102000" sy="102000" algn="ctr" rotWithShape="0">
              <a:srgbClr val="000000">
                <a:alpha val="9803"/>
              </a:srgbClr>
            </a:outerShdw>
          </a:effectLst>
        </p:spPr>
        <p:txBody>
          <a:bodyPr spcFirstLastPara="1" wrap="square" lIns="180000" tIns="180000" rIns="180000" bIns="1800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dirty="0"/>
              <a:t>Recommended sources of data for forest growth (using </a:t>
            </a:r>
            <a:r>
              <a:rPr lang="en-US" i="1" dirty="0"/>
              <a:t>mean annual increment – </a:t>
            </a:r>
            <a:r>
              <a:rPr lang="en-US" dirty="0"/>
              <a:t>MAI)</a:t>
            </a:r>
            <a:endParaRPr dirty="0"/>
          </a:p>
        </p:txBody>
      </p:sp>
      <p:pic>
        <p:nvPicPr>
          <p:cNvPr id="517" name="Google Shape;517;p8"/>
          <p:cNvPicPr preferRelativeResize="0"/>
          <p:nvPr/>
        </p:nvPicPr>
        <p:blipFill rotWithShape="1">
          <a:blip r:embed="rId3">
            <a:alphaModFix/>
          </a:blip>
          <a:srcRect l="-2" t="3903" r="-2" b="7997"/>
          <a:stretch/>
        </p:blipFill>
        <p:spPr>
          <a:xfrm>
            <a:off x="457200" y="1033145"/>
            <a:ext cx="5622453" cy="5383907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</p:pic>
      <p:sp>
        <p:nvSpPr>
          <p:cNvPr id="519" name="Google Shape;519;p8"/>
          <p:cNvSpPr txBox="1"/>
          <p:nvPr/>
        </p:nvSpPr>
        <p:spPr>
          <a:xfrm>
            <a:off x="3759200" y="695739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dk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sp>
        <p:nvSpPr>
          <p:cNvPr id="520" name="Google Shape;520;p8"/>
          <p:cNvSpPr txBox="1"/>
          <p:nvPr/>
        </p:nvSpPr>
        <p:spPr>
          <a:xfrm>
            <a:off x="457200" y="695739"/>
            <a:ext cx="609765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OOL30 Version 04.0 Data / Parameter table 5 (from Sept, 2022)</a:t>
            </a:r>
            <a:endParaRPr dirty="0"/>
          </a:p>
        </p:txBody>
      </p:sp>
      <p:sp>
        <p:nvSpPr>
          <p:cNvPr id="4" name="Google Shape;525;p9">
            <a:extLst>
              <a:ext uri="{FF2B5EF4-FFF2-40B4-BE49-F238E27FC236}">
                <a16:creationId xmlns:a16="http://schemas.microsoft.com/office/drawing/2014/main" id="{B74DAB38-7C31-2434-E738-AC7082B8B6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396163" y="358775"/>
            <a:ext cx="4338637" cy="1101725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/>
            <a:r>
              <a:rPr lang="en-US" sz="3600" dirty="0"/>
              <a:t>Uncertainty in Tool3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10"/>
          <p:cNvSpPr txBox="1">
            <a:spLocks noGrp="1"/>
          </p:cNvSpPr>
          <p:nvPr>
            <p:ph type="ftr" idx="11"/>
          </p:nvPr>
        </p:nvSpPr>
        <p:spPr>
          <a:xfrm>
            <a:off x="457200" y="6254713"/>
            <a:ext cx="6028182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2000" rIns="72000" bIns="720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39" name="Google Shape;539;p10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sp>
        <p:nvSpPr>
          <p:cNvPr id="540" name="Google Shape;540;p10"/>
          <p:cNvSpPr txBox="1">
            <a:spLocks noGrp="1"/>
          </p:cNvSpPr>
          <p:nvPr>
            <p:ph type="body" idx="1"/>
          </p:nvPr>
        </p:nvSpPr>
        <p:spPr>
          <a:xfrm>
            <a:off x="7124884" y="1422846"/>
            <a:ext cx="4996723" cy="15652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70000" lnSpcReduction="20000"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sz="2400" dirty="0"/>
              <a:t>2. IPCC AGB growth rates</a:t>
            </a:r>
          </a:p>
          <a:p>
            <a:pPr marL="228600" lvl="0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100000"/>
              <a:buChar char="•"/>
            </a:pPr>
            <a:r>
              <a:rPr lang="en-US" sz="2400" dirty="0"/>
              <a:t>(re)growth rates are not constant</a:t>
            </a:r>
            <a:endParaRPr dirty="0"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Very variable</a:t>
            </a:r>
            <a:endParaRPr dirty="0"/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Higher in young </a:t>
            </a:r>
            <a:r>
              <a:rPr lang="en-US" b="1" dirty="0"/>
              <a:t>and recently disturbed</a:t>
            </a:r>
            <a:r>
              <a:rPr lang="en-US" dirty="0"/>
              <a:t> stands</a:t>
            </a:r>
          </a:p>
          <a:p>
            <a:pPr marL="685800" lvl="1" indent="-2286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Uncertainty is included, but Tool30 ignores it</a:t>
            </a:r>
          </a:p>
          <a:p>
            <a:pPr marL="228600" lvl="0" indent="-11049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ct val="100000"/>
              <a:buNone/>
            </a:pPr>
            <a:endParaRPr dirty="0"/>
          </a:p>
        </p:txBody>
      </p:sp>
      <p:pic>
        <p:nvPicPr>
          <p:cNvPr id="542" name="Google Shape;542;p10"/>
          <p:cNvPicPr preferRelativeResize="0">
            <a:picLocks noGrp="1"/>
          </p:cNvPicPr>
          <p:nvPr>
            <p:ph type="chart" idx="2"/>
          </p:nvPr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2071261"/>
            <a:ext cx="6027738" cy="3999416"/>
          </a:xfrm>
          <a:prstGeom prst="rect">
            <a:avLst/>
          </a:prstGeom>
          <a:noFill/>
          <a:ln>
            <a:noFill/>
          </a:ln>
        </p:spPr>
      </p:pic>
      <p:pic>
        <p:nvPicPr>
          <p:cNvPr id="543" name="Google Shape;543;p1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7396162" y="2930053"/>
            <a:ext cx="4454168" cy="3775972"/>
          </a:xfrm>
          <a:prstGeom prst="rect">
            <a:avLst/>
          </a:prstGeom>
          <a:noFill/>
          <a:ln>
            <a:noFill/>
          </a:ln>
        </p:spPr>
      </p:pic>
      <p:sp>
        <p:nvSpPr>
          <p:cNvPr id="544" name="Google Shape;544;p10"/>
          <p:cNvSpPr/>
          <p:nvPr/>
        </p:nvSpPr>
        <p:spPr>
          <a:xfrm>
            <a:off x="3305610" y="2415618"/>
            <a:ext cx="1127898" cy="1819031"/>
          </a:xfrm>
          <a:prstGeom prst="ellipse">
            <a:avLst/>
          </a:prstGeom>
          <a:noFill/>
          <a:ln w="28575" cap="flat" cmpd="sng">
            <a:solidFill>
              <a:srgbClr val="FF000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graphicFrame>
        <p:nvGraphicFramePr>
          <p:cNvPr id="545" name="Google Shape;545;p10"/>
          <p:cNvGraphicFramePr/>
          <p:nvPr/>
        </p:nvGraphicFramePr>
        <p:xfrm>
          <a:off x="457199" y="1430603"/>
          <a:ext cx="6027750" cy="54864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027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marR="0" lvl="0" indent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 b="0" i="0" u="none" strike="noStrike" cap="none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rom IPCC’s “2019 Refinement to the 2006 IPCC Guidelines for National Greenhouse Gas Inventories” </a:t>
                      </a:r>
                      <a:endParaRPr/>
                    </a:p>
                  </a:txBody>
                  <a:tcPr marL="47625" marR="47625" marT="0" marB="0">
                    <a:lnL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>
                          <a:alpha val="0"/>
                        </a:srgbClr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546" name="Google Shape;546;p10"/>
          <p:cNvSpPr/>
          <p:nvPr/>
        </p:nvSpPr>
        <p:spPr>
          <a:xfrm>
            <a:off x="4052814" y="2415617"/>
            <a:ext cx="1127898" cy="1819031"/>
          </a:xfrm>
          <a:prstGeom prst="ellipse">
            <a:avLst/>
          </a:prstGeom>
          <a:noFill/>
          <a:ln w="28575" cap="flat" cmpd="sng">
            <a:solidFill>
              <a:schemeClr val="accent1">
                <a:lumMod val="75000"/>
              </a:schemeClr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200">
              <a:solidFill>
                <a:schemeClr val="lt1"/>
              </a:solidFill>
              <a:latin typeface="Avenir"/>
              <a:ea typeface="Avenir"/>
              <a:cs typeface="Avenir"/>
              <a:sym typeface="Avenir"/>
            </a:endParaRPr>
          </a:p>
        </p:txBody>
      </p:sp>
      <p:cxnSp>
        <p:nvCxnSpPr>
          <p:cNvPr id="547" name="Google Shape;547;p10"/>
          <p:cNvCxnSpPr>
            <a:cxnSpLocks/>
          </p:cNvCxnSpPr>
          <p:nvPr/>
        </p:nvCxnSpPr>
        <p:spPr>
          <a:xfrm flipV="1">
            <a:off x="5180712" y="2712774"/>
            <a:ext cx="2527485" cy="598300"/>
          </a:xfrm>
          <a:prstGeom prst="straightConnector1">
            <a:avLst/>
          </a:prstGeom>
          <a:noFill/>
          <a:ln w="25400" cap="rnd" cmpd="sng">
            <a:solidFill>
              <a:schemeClr val="accent1">
                <a:lumMod val="75000"/>
              </a:schemeClr>
            </a:solidFill>
            <a:prstDash val="solid"/>
            <a:round/>
            <a:headEnd type="none" w="sm" len="sm"/>
            <a:tailEnd type="oval" w="med" len="med"/>
          </a:ln>
        </p:spPr>
      </p:cxnSp>
      <p:sp>
        <p:nvSpPr>
          <p:cNvPr id="10" name="Title 9">
            <a:extLst>
              <a:ext uri="{FF2B5EF4-FFF2-40B4-BE49-F238E27FC236}">
                <a16:creationId xmlns:a16="http://schemas.microsoft.com/office/drawing/2014/main" id="{102A6828-2B19-63FC-8A46-C86F966A11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Uncertainty in Tool30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500"/>
                                          </p:stCondLst>
                                        </p:cTn>
                                        <p:tgtEl>
                                          <p:spTgt spid="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9B28C31-5062-09BC-A90A-3F2586121B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Uncertainty in Tool30 – how large is it?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DCCCEFF-1AB6-723F-331F-22A9754AFE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1E6AE0E-FCDC-2F6A-8BEB-0E5BE7B65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6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D3E918E-F50E-C18E-145A-D7FED0BDE8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40" y="1016000"/>
            <a:ext cx="10594647" cy="6084621"/>
          </a:xfrm>
          <a:prstGeom prst="rect">
            <a:avLst/>
          </a:prstGeom>
          <a:effectLst/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748CD76-D178-2B38-EBAF-8F22867DC9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59545" y="4294242"/>
            <a:ext cx="3510300" cy="2298700"/>
          </a:xfrm>
        </p:spPr>
        <p:txBody>
          <a:bodyPr/>
          <a:lstStyle/>
          <a:p>
            <a:pPr marL="0" indent="0">
              <a:buNone/>
            </a:pPr>
            <a:r>
              <a:rPr lang="en-US" sz="2200" dirty="0"/>
              <a:t>We built a simple excel model using data recommended by Tool30 to calculate the uncertainty in fNRB using Standard Deviations in MAI from the IPCC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806D138-D7BF-F752-ACF1-61BCEBDA758A}"/>
              </a:ext>
            </a:extLst>
          </p:cNvPr>
          <p:cNvGrpSpPr/>
          <p:nvPr/>
        </p:nvGrpSpPr>
        <p:grpSpPr>
          <a:xfrm>
            <a:off x="613908" y="1874283"/>
            <a:ext cx="4969880" cy="2298700"/>
            <a:chOff x="502726" y="1990823"/>
            <a:chExt cx="4969880" cy="229870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41255270-05FE-876A-4A31-3FF2255950E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02726" y="1990823"/>
              <a:ext cx="4969880" cy="322730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A51E6DB4-0760-FFBE-BFAB-C2994E10A6E4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02726" y="3253934"/>
              <a:ext cx="4969880" cy="1035589"/>
            </a:xfrm>
            <a:prstGeom prst="line">
              <a:avLst/>
            </a:prstGeom>
            <a:ln w="6350" cap="rnd">
              <a:solidFill>
                <a:schemeClr val="tx1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" name="Picture 6">
            <a:extLst>
              <a:ext uri="{FF2B5EF4-FFF2-40B4-BE49-F238E27FC236}">
                <a16:creationId xmlns:a16="http://schemas.microsoft.com/office/drawing/2014/main" id="{05CF6B7B-C1FA-113C-7480-DB551B98F4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3788" y="1874283"/>
            <a:ext cx="6438900" cy="229870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</p:pic>
      <p:sp>
        <p:nvSpPr>
          <p:cNvPr id="10" name="Oval 9">
            <a:extLst>
              <a:ext uri="{FF2B5EF4-FFF2-40B4-BE49-F238E27FC236}">
                <a16:creationId xmlns:a16="http://schemas.microsoft.com/office/drawing/2014/main" id="{7A6E2688-9EF5-53A5-CC4D-961E3C98EF47}"/>
              </a:ext>
            </a:extLst>
          </p:cNvPr>
          <p:cNvSpPr/>
          <p:nvPr/>
        </p:nvSpPr>
        <p:spPr>
          <a:xfrm>
            <a:off x="9380334" y="2197013"/>
            <a:ext cx="1967120" cy="1855492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200" dirty="0" err="1"/>
          </a:p>
        </p:txBody>
      </p:sp>
    </p:spTree>
    <p:extLst>
      <p:ext uri="{BB962C8B-B14F-4D97-AF65-F5344CB8AC3E}">
        <p14:creationId xmlns:p14="http://schemas.microsoft.com/office/powerpoint/2010/main" val="144146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11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/>
              <a:t>Marginal fNRB</a:t>
            </a:r>
            <a:endParaRPr/>
          </a:p>
        </p:txBody>
      </p:sp>
      <p:sp>
        <p:nvSpPr>
          <p:cNvPr id="553" name="Google Shape;553;p11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/>
          </a:p>
        </p:txBody>
      </p:sp>
      <p:pic>
        <p:nvPicPr>
          <p:cNvPr id="554" name="Google Shape;554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702425" y="1085686"/>
            <a:ext cx="5489575" cy="5489575"/>
          </a:xfrm>
          <a:prstGeom prst="rect">
            <a:avLst/>
          </a:prstGeom>
          <a:noFill/>
          <a:ln>
            <a:noFill/>
          </a:ln>
        </p:spPr>
      </p:pic>
      <p:sp>
        <p:nvSpPr>
          <p:cNvPr id="555" name="Google Shape;555;p11"/>
          <p:cNvSpPr txBox="1"/>
          <p:nvPr/>
        </p:nvSpPr>
        <p:spPr>
          <a:xfrm>
            <a:off x="6807986" y="6475576"/>
            <a:ext cx="5107494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https://thoughtf20.classes.ryansafner.com/slides/3.2-slides#26</a:t>
            </a:r>
            <a:endParaRPr/>
          </a:p>
        </p:txBody>
      </p:sp>
      <p:sp>
        <p:nvSpPr>
          <p:cNvPr id="556" name="Google Shape;556;p11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6245225" cy="46582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92500" lnSpcReduction="20000"/>
          </a:bodyPr>
          <a:lstStyle/>
          <a:p>
            <a:pPr marL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 dirty="0"/>
              <a:t>What the heck are we talking about?</a:t>
            </a:r>
            <a:endParaRPr dirty="0"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 dirty="0"/>
              <a:t>Common in Economics</a:t>
            </a:r>
            <a:endParaRPr dirty="0"/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The effect of a unit change in one variable on another variable</a:t>
            </a:r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o"/>
            </a:pPr>
            <a:r>
              <a:rPr lang="en-US" dirty="0"/>
              <a:t>Utility, Cost/Revenue, Productivity</a:t>
            </a:r>
            <a:endParaRPr dirty="0"/>
          </a:p>
          <a:p>
            <a:pPr marL="1143000" lvl="2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▪"/>
            </a:pPr>
            <a:r>
              <a:rPr lang="en-US" dirty="0"/>
              <a:t>Output is a non-linear function of inputs like capital and labor (top graph)</a:t>
            </a:r>
            <a:endParaRPr dirty="0"/>
          </a:p>
          <a:p>
            <a:pPr marL="1143000" lvl="2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▪"/>
            </a:pPr>
            <a:r>
              <a:rPr lang="en-US" dirty="0"/>
              <a:t>An additional unit of input affects output differently depending on the quantity of inputs already being utilized (lower graph - blue line)</a:t>
            </a:r>
            <a:endParaRPr dirty="0"/>
          </a:p>
        </p:txBody>
      </p:sp>
      <p:sp>
        <p:nvSpPr>
          <p:cNvPr id="557" name="Google Shape;557;p11"/>
          <p:cNvSpPr txBox="1"/>
          <p:nvPr/>
        </p:nvSpPr>
        <p:spPr>
          <a:xfrm>
            <a:off x="404419" y="6028470"/>
            <a:ext cx="6245225" cy="452560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l="-1216" t="-2702" r="-2433" b="-18918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Avenir"/>
                <a:ea typeface="Avenir"/>
                <a:cs typeface="Avenir"/>
                <a:sym typeface="Avenir"/>
              </a:rPr>
              <a:t> 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" name="Google Shape;562;p12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/>
              <a:t>Marginal fNRB</a:t>
            </a:r>
            <a:endParaRPr/>
          </a:p>
        </p:txBody>
      </p:sp>
      <p:sp>
        <p:nvSpPr>
          <p:cNvPr id="563" name="Google Shape;563;p12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6735452" cy="477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fontScale="85000" lnSpcReduction="10000"/>
          </a:bodyPr>
          <a:lstStyle/>
          <a:p>
            <a:pPr marL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ct val="100000"/>
              <a:buNone/>
            </a:pPr>
            <a:r>
              <a:rPr lang="en-US"/>
              <a:t>How does this apply to trees?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/>
              <a:t>“Output” is woody biomass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/>
              <a:t>MP</a:t>
            </a:r>
            <a:r>
              <a:rPr lang="en-US" baseline="-25000"/>
              <a:t>i</a:t>
            </a:r>
            <a:r>
              <a:rPr lang="en-US"/>
              <a:t> is Current Annual Increment (CAI)</a:t>
            </a:r>
            <a:endParaRPr/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Char char="o"/>
            </a:pPr>
            <a:r>
              <a:rPr lang="en-US"/>
              <a:t>Inputs are sunlight, nutrients, and the trees …</a:t>
            </a:r>
            <a:endParaRPr/>
          </a:p>
          <a:p>
            <a:pPr marL="0" lvl="0" indent="0" algn="ctr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None/>
            </a:pPr>
            <a:r>
              <a:rPr lang="en-US" sz="2400"/>
              <a:t> “leaves are the forest’s photosynthetic factory”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100000"/>
              <a:buChar char="•"/>
            </a:pPr>
            <a:r>
              <a:rPr lang="en-US"/>
              <a:t>But its not a direct analogy</a:t>
            </a:r>
            <a:endParaRPr/>
          </a:p>
          <a:p>
            <a:pPr marL="971550" lvl="1" indent="-51435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Font typeface="Avenir"/>
              <a:buAutoNum type="arabicPeriod"/>
            </a:pPr>
            <a:r>
              <a:rPr lang="en-US"/>
              <a:t>These plots show “time”, not inputs </a:t>
            </a:r>
            <a:endParaRPr/>
          </a:p>
          <a:p>
            <a:pPr marL="971550" lvl="1" indent="-51435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Font typeface="Avenir"/>
              <a:buAutoNum type="arabicPeriod"/>
            </a:pPr>
            <a:r>
              <a:rPr lang="en-US"/>
              <a:t>We’re not directly interested the growth curve</a:t>
            </a:r>
            <a:endParaRPr/>
          </a:p>
          <a:p>
            <a:pPr marL="914400" lvl="2" indent="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ct val="75000"/>
              <a:buNone/>
            </a:pPr>
            <a:r>
              <a:rPr lang="en-US"/>
              <a:t>We need to know how harvest leads to losses in stock</a:t>
            </a:r>
            <a:endParaRPr/>
          </a:p>
        </p:txBody>
      </p:sp>
      <p:sp>
        <p:nvSpPr>
          <p:cNvPr id="564" name="Google Shape;564;p12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  <p:pic>
        <p:nvPicPr>
          <p:cNvPr id="565" name="Google Shape;565;p12" descr="Growth and growth-rates curves. a The trajectory of the state variable... |  Download Scientific Diagram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13747" y="1083434"/>
            <a:ext cx="4572844" cy="4557021"/>
          </a:xfrm>
          <a:prstGeom prst="rect">
            <a:avLst/>
          </a:prstGeom>
          <a:noFill/>
          <a:ln>
            <a:noFill/>
          </a:ln>
        </p:spPr>
      </p:pic>
      <p:sp>
        <p:nvSpPr>
          <p:cNvPr id="566" name="Google Shape;566;p12"/>
          <p:cNvSpPr txBox="1"/>
          <p:nvPr/>
        </p:nvSpPr>
        <p:spPr>
          <a:xfrm>
            <a:off x="7619156" y="5707889"/>
            <a:ext cx="4367435" cy="577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50">
                <a:solidFill>
                  <a:schemeClr val="dk1"/>
                </a:solidFill>
                <a:latin typeface="Avenir"/>
                <a:ea typeface="Avenir"/>
                <a:cs typeface="Avenir"/>
                <a:sym typeface="Avenir"/>
              </a:rPr>
              <a:t>https://www.researchgate.net/publication/357163700_Growth_Equations_in_Forest_Research_Mathematical_Basis_and_Model_Similarities/figures?lo=1 </a:t>
            </a:r>
            <a:endParaRPr/>
          </a:p>
        </p:txBody>
      </p:sp>
      <p:sp>
        <p:nvSpPr>
          <p:cNvPr id="567" name="Google Shape;567;p12"/>
          <p:cNvSpPr txBox="1"/>
          <p:nvPr/>
        </p:nvSpPr>
        <p:spPr>
          <a:xfrm>
            <a:off x="457200" y="5843804"/>
            <a:ext cx="6748774" cy="821892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l="-2255" t="-1537" r="-186" b="-16920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Avenir"/>
                <a:ea typeface="Avenir"/>
                <a:cs typeface="Avenir"/>
                <a:sym typeface="Avenir"/>
              </a:rPr>
              <a:t> 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13"/>
          <p:cNvSpPr txBox="1">
            <a:spLocks noGrp="1"/>
          </p:cNvSpPr>
          <p:nvPr>
            <p:ph type="title"/>
          </p:nvPr>
        </p:nvSpPr>
        <p:spPr>
          <a:xfrm>
            <a:off x="457199" y="358160"/>
            <a:ext cx="11277597" cy="657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Arial"/>
              <a:buNone/>
            </a:pPr>
            <a:r>
              <a:rPr lang="en-US"/>
              <a:t>Marginal fNRB</a:t>
            </a:r>
            <a:endParaRPr/>
          </a:p>
        </p:txBody>
      </p:sp>
      <p:sp>
        <p:nvSpPr>
          <p:cNvPr id="573" name="Google Shape;573;p13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6735452" cy="4663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 lnSpcReduction="10000"/>
          </a:bodyPr>
          <a:lstStyle/>
          <a:p>
            <a:pPr marL="0" lvl="0" indent="0" algn="l" rtl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SzPts val="3200"/>
              <a:buNone/>
            </a:pPr>
            <a:r>
              <a:rPr lang="en-US"/>
              <a:t>Things get more complicated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3200"/>
              <a:buChar char="•"/>
            </a:pPr>
            <a:r>
              <a:rPr lang="en-US"/>
              <a:t>Each country we assess has dozens of growth functions distributed across thousands to millions of pixels</a:t>
            </a:r>
            <a:endParaRPr/>
          </a:p>
          <a:p>
            <a:pPr marL="685800" lvl="1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2100"/>
              <a:buChar char="o"/>
            </a:pPr>
            <a:r>
              <a:rPr lang="en-US"/>
              <a:t>Harvest is very heterogenous </a:t>
            </a:r>
            <a:endParaRPr/>
          </a:p>
          <a:p>
            <a:pPr marL="228600" lvl="0" indent="-228600" algn="l" rtl="0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SzPts val="3200"/>
              <a:buChar char="•"/>
            </a:pPr>
            <a:r>
              <a:rPr lang="en-US"/>
              <a:t>We’re using MoFuSS to “construct” a marginal fRNB function for each country:   </a:t>
            </a:r>
            <a:endParaRPr/>
          </a:p>
        </p:txBody>
      </p:sp>
      <p:sp>
        <p:nvSpPr>
          <p:cNvPr id="574" name="Google Shape;574;p13"/>
          <p:cNvSpPr txBox="1">
            <a:spLocks noGrp="1"/>
          </p:cNvSpPr>
          <p:nvPr>
            <p:ph type="sldNum" idx="12"/>
          </p:nvPr>
        </p:nvSpPr>
        <p:spPr>
          <a:xfrm>
            <a:off x="11734799" y="6254713"/>
            <a:ext cx="457201" cy="4902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pic>
        <p:nvPicPr>
          <p:cNvPr id="575" name="Google Shape;575;p13" descr="A graph with lines and numbers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t="11290" r="46246" b="8666"/>
          <a:stretch/>
        </p:blipFill>
        <p:spPr>
          <a:xfrm>
            <a:off x="7655377" y="1509902"/>
            <a:ext cx="4397475" cy="3559019"/>
          </a:xfrm>
          <a:prstGeom prst="rect">
            <a:avLst/>
          </a:prstGeom>
          <a:noFill/>
          <a:ln>
            <a:noFill/>
          </a:ln>
        </p:spPr>
      </p:pic>
      <p:pic>
        <p:nvPicPr>
          <p:cNvPr id="576" name="Google Shape;576;p13" descr="A graph with lines and numbers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 l="52634" t="36815" r="1309" b="34507"/>
          <a:stretch/>
        </p:blipFill>
        <p:spPr>
          <a:xfrm>
            <a:off x="7476668" y="5099792"/>
            <a:ext cx="4576184" cy="1548720"/>
          </a:xfrm>
          <a:prstGeom prst="rect">
            <a:avLst/>
          </a:prstGeom>
          <a:noFill/>
          <a:ln>
            <a:noFill/>
          </a:ln>
        </p:spPr>
      </p:pic>
      <p:sp>
        <p:nvSpPr>
          <p:cNvPr id="577" name="Google Shape;577;p13"/>
          <p:cNvSpPr txBox="1"/>
          <p:nvPr/>
        </p:nvSpPr>
        <p:spPr>
          <a:xfrm>
            <a:off x="7655377" y="687387"/>
            <a:ext cx="4215494" cy="822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72000" tIns="72000" rIns="72000" bIns="720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xamples of growth functions used in different eco-regions</a:t>
            </a:r>
            <a:endParaRPr/>
          </a:p>
        </p:txBody>
      </p:sp>
      <p:sp>
        <p:nvSpPr>
          <p:cNvPr id="578" name="Google Shape;578;p13"/>
          <p:cNvSpPr txBox="1"/>
          <p:nvPr/>
        </p:nvSpPr>
        <p:spPr>
          <a:xfrm>
            <a:off x="2022630" y="5937066"/>
            <a:ext cx="3215292" cy="635367"/>
          </a:xfrm>
          <a:prstGeom prst="rect">
            <a:avLst/>
          </a:prstGeom>
          <a:blipFill rotWithShape="1">
            <a:blip r:embed="rId4">
              <a:alphaModFix/>
            </a:blip>
            <a:stretch>
              <a:fillRect l="-1573" b="-3919"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latin typeface="Avenir"/>
                <a:ea typeface="Avenir"/>
                <a:cs typeface="Avenir"/>
                <a:sym typeface="Avenir"/>
              </a:rPr>
              <a:t> 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hyp="http://schemas.microsoft.com/office/drawing/2018/hyperlinkcolor" xmlns:p15="http://schemas.microsoft.com/office/powerpoint/2012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Clean Cooking Alliance">
  <a:themeElements>
    <a:clrScheme name="CCA">
      <a:dk1>
        <a:srgbClr val="000000"/>
      </a:dk1>
      <a:lt1>
        <a:srgbClr val="FFFFFF"/>
      </a:lt1>
      <a:dk2>
        <a:srgbClr val="183B72"/>
      </a:dk2>
      <a:lt2>
        <a:srgbClr val="F2F2F2"/>
      </a:lt2>
      <a:accent1>
        <a:srgbClr val="0280BF"/>
      </a:accent1>
      <a:accent2>
        <a:srgbClr val="99D4F2"/>
      </a:accent2>
      <a:accent3>
        <a:srgbClr val="578C43"/>
      </a:accent3>
      <a:accent4>
        <a:srgbClr val="255225"/>
      </a:accent4>
      <a:accent5>
        <a:srgbClr val="F99303"/>
      </a:accent5>
      <a:accent6>
        <a:srgbClr val="B02676"/>
      </a:accent6>
      <a:hlink>
        <a:srgbClr val="0563C1"/>
      </a:hlink>
      <a:folHlink>
        <a:srgbClr val="954F72"/>
      </a:folHlink>
    </a:clrScheme>
    <a:fontScheme name="Custom 138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2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5400" cap="rnd"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>
        <a:noAutofit/>
      </a:bodyPr>
      <a:lstStyle>
        <a:defPPr algn="l">
          <a:defRPr sz="2200" dirty="0" err="1" smtClean="0"/>
        </a:defPPr>
      </a:lstStyle>
    </a:txDef>
  </a:objectDefaults>
  <a:extraClrSchemeLst/>
  <a:custClrLst/>
  <a:extLst>
    <a:ext uri="{05A4C25C-085E-4340-85A3-A5531E510DB2}">
      <thm15:themeFamily xmlns:thm15="http://schemas.microsoft.com/office/thememl/2012/main" name="Clean Cooking Alliance - Blank Template 08.potx" id="{C726EA53-9EFC-4F6C-9E7D-50C79F7A1215}" vid="{83922EEB-8E37-4FDA-A1E8-6B8B07137D8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1699d6-acbd-4fe6-9514-1aeee55d219b" xsi:nil="true"/>
    <lcf76f155ced4ddcb4097134ff3c332f xmlns="e3690336-715d-464d-9b21-bc3d44ac714d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296D75EA866094BA59FBFEA6FE0FE1B" ma:contentTypeVersion="12" ma:contentTypeDescription="Create a new document." ma:contentTypeScope="" ma:versionID="9dd0dfe8c90688dba7c774aa772d42a8">
  <xsd:schema xmlns:xsd="http://www.w3.org/2001/XMLSchema" xmlns:xs="http://www.w3.org/2001/XMLSchema" xmlns:p="http://schemas.microsoft.com/office/2006/metadata/properties" xmlns:ns2="e3690336-715d-464d-9b21-bc3d44ac714d" xmlns:ns3="151699d6-acbd-4fe6-9514-1aeee55d219b" targetNamespace="http://schemas.microsoft.com/office/2006/metadata/properties" ma:root="true" ma:fieldsID="728381f17c520505689e152922e27965" ns2:_="" ns3:_="">
    <xsd:import namespace="e3690336-715d-464d-9b21-bc3d44ac714d"/>
    <xsd:import namespace="151699d6-acbd-4fe6-9514-1aeee55d219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690336-715d-464d-9b21-bc3d44ac71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ec5b9f97-a3a9-4673-b973-1f963bf50a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1699d6-acbd-4fe6-9514-1aeee55d219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336e3483-1245-4849-9dc4-4c05181f7654}" ma:internalName="TaxCatchAll" ma:showField="CatchAllData" ma:web="151699d6-acbd-4fe6-9514-1aeee55d219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4A7072C-52EF-49C3-BCBD-470B8487193A}">
  <ds:schemaRefs>
    <ds:schemaRef ds:uri="http://schemas.microsoft.com/office/2006/metadata/properties"/>
    <ds:schemaRef ds:uri="http://www.w3.org/XML/1998/namespace"/>
    <ds:schemaRef ds:uri="http://purl.org/dc/terms/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151699d6-acbd-4fe6-9514-1aeee55d219b"/>
    <ds:schemaRef ds:uri="e3690336-715d-464d-9b21-bc3d44ac714d"/>
  </ds:schemaRefs>
</ds:datastoreItem>
</file>

<file path=customXml/itemProps2.xml><?xml version="1.0" encoding="utf-8"?>
<ds:datastoreItem xmlns:ds="http://schemas.openxmlformats.org/officeDocument/2006/customXml" ds:itemID="{20C624CB-9E74-48B0-993A-59465AF1F2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5EF8A0C-D3D3-4ABE-B106-C1DF39BCEE7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690336-715d-464d-9b21-bc3d44ac714d"/>
    <ds:schemaRef ds:uri="151699d6-acbd-4fe6-9514-1aeee55d219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8598</TotalTime>
  <Words>813</Words>
  <Application>Microsoft Office PowerPoint</Application>
  <PresentationFormat>Widescreen</PresentationFormat>
  <Paragraphs>119</Paragraphs>
  <Slides>14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26" baseType="lpstr">
      <vt:lpstr>Aptos Narrow</vt:lpstr>
      <vt:lpstr>Arial</vt:lpstr>
      <vt:lpstr>Avenir</vt:lpstr>
      <vt:lpstr>Avenir Next LT Pro</vt:lpstr>
      <vt:lpstr>Calibri</vt:lpstr>
      <vt:lpstr>Calibri Light</vt:lpstr>
      <vt:lpstr>Cambria Math</vt:lpstr>
      <vt:lpstr>Courier New</vt:lpstr>
      <vt:lpstr>Noto Sans Symbols</vt:lpstr>
      <vt:lpstr>Clean Cooking Alliance</vt:lpstr>
      <vt:lpstr>think-cell Slide</vt:lpstr>
      <vt:lpstr>TCLayout.ActiveDocument.1</vt:lpstr>
      <vt:lpstr>Marginal approach  Rob Bailis – SEI  Adrian Ghilardi - UNAM </vt:lpstr>
      <vt:lpstr>Overview</vt:lpstr>
      <vt:lpstr>Uncertainties</vt:lpstr>
      <vt:lpstr>Uncertainty in Tool30</vt:lpstr>
      <vt:lpstr>Uncertainty in Tool30</vt:lpstr>
      <vt:lpstr>Uncertainty in Tool30 – how large is it?</vt:lpstr>
      <vt:lpstr>Marginal fNRB</vt:lpstr>
      <vt:lpstr>Marginal fNRB</vt:lpstr>
      <vt:lpstr>Marginal fNRB</vt:lpstr>
      <vt:lpstr>Marginal fNRB</vt:lpstr>
      <vt:lpstr>Marginal fNRB – next steps</vt:lpstr>
      <vt:lpstr>Thank you!</vt:lpstr>
      <vt:lpstr>Uncertainty in Tool30</vt:lpstr>
      <vt:lpstr>Challenges using Tool30 – misleading or ambiguous data sour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in title over two lines max</dc:title>
  <dc:creator>Moa Engström</dc:creator>
  <cp:lastModifiedBy>ADRIAN GHILARDI</cp:lastModifiedBy>
  <cp:revision>56</cp:revision>
  <cp:lastPrinted>2018-05-16T13:08:58Z</cp:lastPrinted>
  <dcterms:created xsi:type="dcterms:W3CDTF">2018-03-22T12:16:28Z</dcterms:created>
  <dcterms:modified xsi:type="dcterms:W3CDTF">2025-02-12T08:37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96D75EA866094BA59FBFEA6FE0FE1B</vt:lpwstr>
  </property>
  <property fmtid="{D5CDD505-2E9C-101B-9397-08002B2CF9AE}" pid="3" name="MediaServiceImageTags">
    <vt:lpwstr/>
  </property>
</Properties>
</file>